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2"/>
  </p:sldMasterIdLst>
  <p:notesMasterIdLst>
    <p:notesMasterId r:id="rId55"/>
  </p:notesMasterIdLst>
  <p:sldIdLst>
    <p:sldId id="332" r:id="rId3"/>
    <p:sldId id="2036" r:id="rId4"/>
    <p:sldId id="2161" r:id="rId5"/>
    <p:sldId id="340" r:id="rId6"/>
    <p:sldId id="1748" r:id="rId7"/>
    <p:sldId id="2005" r:id="rId8"/>
    <p:sldId id="1875" r:id="rId9"/>
    <p:sldId id="262" r:id="rId10"/>
    <p:sldId id="2139" r:id="rId11"/>
    <p:sldId id="2134" r:id="rId12"/>
    <p:sldId id="2026" r:id="rId13"/>
    <p:sldId id="399" r:id="rId14"/>
    <p:sldId id="538" r:id="rId15"/>
    <p:sldId id="2140" r:id="rId16"/>
    <p:sldId id="256" r:id="rId17"/>
    <p:sldId id="2159" r:id="rId18"/>
    <p:sldId id="2160" r:id="rId19"/>
    <p:sldId id="2035" r:id="rId20"/>
    <p:sldId id="357" r:id="rId21"/>
    <p:sldId id="2028" r:id="rId22"/>
    <p:sldId id="2029" r:id="rId23"/>
    <p:sldId id="2133" r:id="rId24"/>
    <p:sldId id="2031" r:id="rId25"/>
    <p:sldId id="2030" r:id="rId26"/>
    <p:sldId id="2033" r:id="rId27"/>
    <p:sldId id="2142" r:id="rId28"/>
    <p:sldId id="2032" r:id="rId29"/>
    <p:sldId id="2136" r:id="rId30"/>
    <p:sldId id="2157" r:id="rId31"/>
    <p:sldId id="2007" r:id="rId32"/>
    <p:sldId id="2144" r:id="rId33"/>
    <p:sldId id="2145" r:id="rId34"/>
    <p:sldId id="2150" r:id="rId35"/>
    <p:sldId id="2151" r:id="rId36"/>
    <p:sldId id="2147" r:id="rId37"/>
    <p:sldId id="2146" r:id="rId38"/>
    <p:sldId id="2137" r:id="rId39"/>
    <p:sldId id="2155" r:id="rId40"/>
    <p:sldId id="2156" r:id="rId41"/>
    <p:sldId id="2034" r:id="rId42"/>
    <p:sldId id="2138" r:id="rId43"/>
    <p:sldId id="2143" r:id="rId44"/>
    <p:sldId id="2148" r:id="rId45"/>
    <p:sldId id="2153" r:id="rId46"/>
    <p:sldId id="2154" r:id="rId47"/>
    <p:sldId id="2149" r:id="rId48"/>
    <p:sldId id="1891" r:id="rId49"/>
    <p:sldId id="1892" r:id="rId50"/>
    <p:sldId id="1893" r:id="rId51"/>
    <p:sldId id="2037" r:id="rId52"/>
    <p:sldId id="2141" r:id="rId53"/>
    <p:sldId id="334" r:id="rId54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30CCF905-FB67-46AC-B42F-81ECDE9C4103}">
          <p14:sldIdLst>
            <p14:sldId id="332"/>
            <p14:sldId id="2036"/>
            <p14:sldId id="2161"/>
            <p14:sldId id="340"/>
            <p14:sldId id="1748"/>
            <p14:sldId id="2005"/>
            <p14:sldId id="1875"/>
            <p14:sldId id="262"/>
            <p14:sldId id="2139"/>
          </p14:sldIdLst>
        </p14:section>
        <p14:section name="Comprehensive Curriculum" id="{FDB577A6-E32C-49F8-9ADB-9E02F4F3848B}">
          <p14:sldIdLst>
            <p14:sldId id="2134"/>
            <p14:sldId id="2026"/>
            <p14:sldId id="399"/>
            <p14:sldId id="538"/>
            <p14:sldId id="2140"/>
            <p14:sldId id="256"/>
            <p14:sldId id="2159"/>
            <p14:sldId id="2160"/>
            <p14:sldId id="2035"/>
            <p14:sldId id="357"/>
            <p14:sldId id="2028"/>
            <p14:sldId id="2029"/>
          </p14:sldIdLst>
        </p14:section>
        <p14:section name="Academic Content" id="{968DF993-5C63-4059-B8B4-4C7D265C6E04}">
          <p14:sldIdLst>
            <p14:sldId id="2133"/>
            <p14:sldId id="2031"/>
            <p14:sldId id="2030"/>
            <p14:sldId id="2033"/>
            <p14:sldId id="2142"/>
            <p14:sldId id="2032"/>
            <p14:sldId id="2136"/>
            <p14:sldId id="2157"/>
            <p14:sldId id="2007"/>
            <p14:sldId id="2144"/>
            <p14:sldId id="2145"/>
            <p14:sldId id="2150"/>
            <p14:sldId id="2151"/>
            <p14:sldId id="2147"/>
            <p14:sldId id="2146"/>
            <p14:sldId id="2137"/>
            <p14:sldId id="2155"/>
            <p14:sldId id="2156"/>
            <p14:sldId id="2034"/>
            <p14:sldId id="2138"/>
            <p14:sldId id="2143"/>
          </p14:sldIdLst>
        </p14:section>
        <p14:section name="Scheduling for Success" id="{DBE46328-E352-44D4-B143-7646D5D1773B}">
          <p14:sldIdLst>
            <p14:sldId id="2148"/>
            <p14:sldId id="2153"/>
            <p14:sldId id="2154"/>
          </p14:sldIdLst>
        </p14:section>
        <p14:section name="Outro" id="{9645264B-4F2C-42F4-B96E-D28189BF65A0}">
          <p14:sldIdLst>
            <p14:sldId id="2149"/>
            <p14:sldId id="1891"/>
            <p14:sldId id="1892"/>
            <p14:sldId id="1893"/>
            <p14:sldId id="2037"/>
            <p14:sldId id="2141"/>
            <p14:sldId id="33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65065B-298D-DEB1-3508-40B8F6887A2A}" name="Tricia Severs" initials="TS" userId="S::tricia.severs@starautismsupport.com::2a4e407c-70ba-4e01-b78d-986faf6e0d36" providerId="AD"/>
  <p188:author id="{64DF92A0-1718-817B-6726-508008D14310}" name="Aimee Dearmon" initials="AD" userId="S::aimee.dearmon@starautismsupport.com::e19bd431-b787-4910-a5d0-5479dc57b04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5A5"/>
    <a:srgbClr val="CCE29B"/>
    <a:srgbClr val="0083BF"/>
    <a:srgbClr val="5DCD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37F509-29D6-49C0-97E4-56B4E0427F16}" v="859" dt="2025-04-12T13:44:43.76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927" autoAdjust="0"/>
    <p:restoredTop sz="86382" autoAdjust="0"/>
  </p:normalViewPr>
  <p:slideViewPr>
    <p:cSldViewPr snapToGrid="0">
      <p:cViewPr varScale="1">
        <p:scale>
          <a:sx n="78" d="100"/>
          <a:sy n="78" d="100"/>
        </p:scale>
        <p:origin x="1074" y="90"/>
      </p:cViewPr>
      <p:guideLst/>
    </p:cSldViewPr>
  </p:slideViewPr>
  <p:outlineViewPr>
    <p:cViewPr>
      <p:scale>
        <a:sx n="33" d="100"/>
        <a:sy n="33" d="100"/>
      </p:scale>
      <p:origin x="0" y="-5755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95" d="100"/>
          <a:sy n="95" d="100"/>
        </p:scale>
        <p:origin x="4566" y="7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theme" Target="theme/theme1.xml"/><Relationship Id="rId5" Type="http://schemas.openxmlformats.org/officeDocument/2006/relationships/slide" Target="slides/slide3.xml"/><Relationship Id="rId61" Type="http://schemas.microsoft.com/office/2018/10/relationships/authors" Target="author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viewProps" Target="viewProp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7DFFCE-192F-4E86-AA3A-04A80CFE630F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B3B3DA2-C6EA-40D3-8759-FA419E4DCE18}">
      <dgm:prSet phldrT="[Text]"/>
      <dgm:spPr>
        <a:solidFill>
          <a:srgbClr val="0067B1"/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A076511-D5EE-475E-BCE2-F4B915EC73BD}" type="parTrans" cxnId="{5DFE48E3-71F7-4EBC-B001-9A43F3BFF49F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E13D45-CE2C-4F5E-8824-4154831B1EDD}" type="sibTrans" cxnId="{5DFE48E3-71F7-4EBC-B001-9A43F3BFF49F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0424AA9-062E-4802-B10D-A8633D3BEBEE}">
      <dgm:prSet phldrT="[Text]"/>
      <dgm:spPr>
        <a:noFill/>
        <a:ln w="28575">
          <a:solidFill>
            <a:srgbClr val="0067B1"/>
          </a:solidFill>
        </a:ln>
      </dgm:spPr>
      <dgm:t>
        <a:bodyPr/>
        <a:lstStyle/>
        <a:p>
          <a:endParaRPr lang="en-US" dirty="0">
            <a:solidFill>
              <a:srgbClr val="0067B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EAC83A3-8413-442A-942D-A59257B9A536}" type="parTrans" cxnId="{49A89B18-C966-4741-B559-418AED2F5160}">
      <dgm:prSet/>
      <dgm:spPr>
        <a:solidFill>
          <a:srgbClr val="101E4E"/>
        </a:solidFill>
        <a:ln w="28575">
          <a:solidFill>
            <a:srgbClr val="101E4E"/>
          </a:solidFill>
        </a:ln>
      </dgm:spPr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8F71322-ED23-48B1-9A59-7AA5F7BEE0BD}" type="sibTrans" cxnId="{49A89B18-C966-4741-B559-418AED2F5160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5B4DFB3-6D62-4399-8BBF-C619021EAE31}">
      <dgm:prSet phldrT="[Text]"/>
      <dgm:spPr>
        <a:noFill/>
        <a:ln w="28575">
          <a:solidFill>
            <a:srgbClr val="0067B1"/>
          </a:solidFill>
        </a:ln>
      </dgm:spPr>
      <dgm:t>
        <a:bodyPr/>
        <a:lstStyle/>
        <a:p>
          <a:endParaRPr lang="en-US" dirty="0">
            <a:solidFill>
              <a:srgbClr val="0067B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B3090F-2249-4662-BA37-9DBA9B1854D7}" type="parTrans" cxnId="{2CA8C959-351F-4441-AE3C-1CC9A69BEDCD}">
      <dgm:prSet/>
      <dgm:spPr>
        <a:solidFill>
          <a:srgbClr val="101E4E"/>
        </a:solidFill>
        <a:ln w="28575">
          <a:solidFill>
            <a:srgbClr val="101E4E"/>
          </a:solidFill>
        </a:ln>
      </dgm:spPr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807E61F-738B-46D3-B88A-3FE6F5758159}" type="sibTrans" cxnId="{2CA8C959-351F-4441-AE3C-1CC9A69BEDCD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99D0917-CB6D-4E7C-BAD8-1BE27E2E7740}">
      <dgm:prSet phldrT="[Text]"/>
      <dgm:spPr>
        <a:noFill/>
        <a:ln w="28575">
          <a:solidFill>
            <a:srgbClr val="0067B1"/>
          </a:solidFill>
        </a:ln>
      </dgm:spPr>
      <dgm:t>
        <a:bodyPr/>
        <a:lstStyle/>
        <a:p>
          <a:endParaRPr lang="en-US" dirty="0">
            <a:solidFill>
              <a:srgbClr val="0067B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5C6A6A-C073-43F7-869E-79D2D439CCB0}" type="sibTrans" cxnId="{860C660E-0FF5-4A0B-A63B-82A908609E5A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C0DBADB-A695-4405-BCB3-4D83A8174D88}" type="parTrans" cxnId="{860C660E-0FF5-4A0B-A63B-82A908609E5A}">
      <dgm:prSet/>
      <dgm:spPr>
        <a:ln w="28575">
          <a:solidFill>
            <a:srgbClr val="101E4E"/>
          </a:solidFill>
        </a:ln>
      </dgm:spPr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D31A7FF-F015-4448-8749-0EF79B6F412A}" type="pres">
      <dgm:prSet presAssocID="{367DFFCE-192F-4E86-AA3A-04A80CFE630F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2889D93-CEE3-4CBA-A803-15D7D392FE48}" type="pres">
      <dgm:prSet presAssocID="{3B3B3DA2-C6EA-40D3-8759-FA419E4DCE18}" presName="root1" presStyleCnt="0"/>
      <dgm:spPr/>
    </dgm:pt>
    <dgm:pt modelId="{28289984-F596-4282-98C4-000C4440F5C8}" type="pres">
      <dgm:prSet presAssocID="{3B3B3DA2-C6EA-40D3-8759-FA419E4DCE18}" presName="LevelOneTextNode" presStyleLbl="node0" presStyleIdx="0" presStyleCnt="1" custAng="5400000" custScaleX="383327" custScaleY="67248">
        <dgm:presLayoutVars>
          <dgm:chPref val="3"/>
        </dgm:presLayoutVars>
      </dgm:prSet>
      <dgm:spPr/>
    </dgm:pt>
    <dgm:pt modelId="{6CFD16C3-CB1E-44D3-8142-092820D5EFC5}" type="pres">
      <dgm:prSet presAssocID="{3B3B3DA2-C6EA-40D3-8759-FA419E4DCE18}" presName="level2hierChild" presStyleCnt="0"/>
      <dgm:spPr/>
    </dgm:pt>
    <dgm:pt modelId="{7DA52184-7443-419E-A3D9-BB23E97DA324}" type="pres">
      <dgm:prSet presAssocID="{7EAC83A3-8413-442A-942D-A59257B9A536}" presName="conn2-1" presStyleLbl="parChTrans1D2" presStyleIdx="0" presStyleCnt="3"/>
      <dgm:spPr/>
    </dgm:pt>
    <dgm:pt modelId="{47F9E58F-3C4B-4653-99EC-57A988DD8207}" type="pres">
      <dgm:prSet presAssocID="{7EAC83A3-8413-442A-942D-A59257B9A536}" presName="connTx" presStyleLbl="parChTrans1D2" presStyleIdx="0" presStyleCnt="3"/>
      <dgm:spPr/>
    </dgm:pt>
    <dgm:pt modelId="{225C262A-5B91-49D5-ABE7-184174A64506}" type="pres">
      <dgm:prSet presAssocID="{D0424AA9-062E-4802-B10D-A8633D3BEBEE}" presName="root2" presStyleCnt="0"/>
      <dgm:spPr/>
    </dgm:pt>
    <dgm:pt modelId="{C5AA5627-3B00-4BE5-9ECB-A78C59C3D2BB}" type="pres">
      <dgm:prSet presAssocID="{D0424AA9-062E-4802-B10D-A8633D3BEBEE}" presName="LevelTwoTextNode" presStyleLbl="node2" presStyleIdx="0" presStyleCnt="3">
        <dgm:presLayoutVars>
          <dgm:chPref val="3"/>
        </dgm:presLayoutVars>
      </dgm:prSet>
      <dgm:spPr/>
    </dgm:pt>
    <dgm:pt modelId="{A3019427-D20B-4018-95E7-E667C6F8A97F}" type="pres">
      <dgm:prSet presAssocID="{D0424AA9-062E-4802-B10D-A8633D3BEBEE}" presName="level3hierChild" presStyleCnt="0"/>
      <dgm:spPr/>
    </dgm:pt>
    <dgm:pt modelId="{04BB24D7-863A-4312-94CE-CF81047C2D88}" type="pres">
      <dgm:prSet presAssocID="{4C0DBADB-A695-4405-BCB3-4D83A8174D88}" presName="conn2-1" presStyleLbl="parChTrans1D2" presStyleIdx="1" presStyleCnt="3"/>
      <dgm:spPr/>
    </dgm:pt>
    <dgm:pt modelId="{6C4086E6-24EF-4F58-A8FA-5D1E1BE092C5}" type="pres">
      <dgm:prSet presAssocID="{4C0DBADB-A695-4405-BCB3-4D83A8174D88}" presName="connTx" presStyleLbl="parChTrans1D2" presStyleIdx="1" presStyleCnt="3"/>
      <dgm:spPr/>
    </dgm:pt>
    <dgm:pt modelId="{47AF9356-ADB9-4CC3-A4CF-A5A391AE427F}" type="pres">
      <dgm:prSet presAssocID="{999D0917-CB6D-4E7C-BAD8-1BE27E2E7740}" presName="root2" presStyleCnt="0"/>
      <dgm:spPr/>
    </dgm:pt>
    <dgm:pt modelId="{BD5C3E1C-8545-4D18-8DCB-EB07D5AC8ECB}" type="pres">
      <dgm:prSet presAssocID="{999D0917-CB6D-4E7C-BAD8-1BE27E2E7740}" presName="LevelTwoTextNode" presStyleLbl="node2" presStyleIdx="1" presStyleCnt="3">
        <dgm:presLayoutVars>
          <dgm:chPref val="3"/>
        </dgm:presLayoutVars>
      </dgm:prSet>
      <dgm:spPr/>
    </dgm:pt>
    <dgm:pt modelId="{A85C857F-03DE-4BC8-9DFA-9231C47747DD}" type="pres">
      <dgm:prSet presAssocID="{999D0917-CB6D-4E7C-BAD8-1BE27E2E7740}" presName="level3hierChild" presStyleCnt="0"/>
      <dgm:spPr/>
    </dgm:pt>
    <dgm:pt modelId="{BFA8E8CE-5341-4EAA-8DA7-F3A7CB7B571A}" type="pres">
      <dgm:prSet presAssocID="{6FB3090F-2249-4662-BA37-9DBA9B1854D7}" presName="conn2-1" presStyleLbl="parChTrans1D2" presStyleIdx="2" presStyleCnt="3"/>
      <dgm:spPr/>
    </dgm:pt>
    <dgm:pt modelId="{002F1F6B-2642-4247-B517-D72F8D75BC31}" type="pres">
      <dgm:prSet presAssocID="{6FB3090F-2249-4662-BA37-9DBA9B1854D7}" presName="connTx" presStyleLbl="parChTrans1D2" presStyleIdx="2" presStyleCnt="3"/>
      <dgm:spPr/>
    </dgm:pt>
    <dgm:pt modelId="{0CF30DC0-D668-4436-A3B9-ED7885BA5428}" type="pres">
      <dgm:prSet presAssocID="{E5B4DFB3-6D62-4399-8BBF-C619021EAE31}" presName="root2" presStyleCnt="0"/>
      <dgm:spPr/>
    </dgm:pt>
    <dgm:pt modelId="{0B69D85E-39E3-4301-BADA-5BEBC21A6A40}" type="pres">
      <dgm:prSet presAssocID="{E5B4DFB3-6D62-4399-8BBF-C619021EAE31}" presName="LevelTwoTextNode" presStyleLbl="node2" presStyleIdx="2" presStyleCnt="3">
        <dgm:presLayoutVars>
          <dgm:chPref val="3"/>
        </dgm:presLayoutVars>
      </dgm:prSet>
      <dgm:spPr/>
    </dgm:pt>
    <dgm:pt modelId="{5AF4F4E5-DD2B-425E-99F5-ED43D62DF2E4}" type="pres">
      <dgm:prSet presAssocID="{E5B4DFB3-6D62-4399-8BBF-C619021EAE31}" presName="level3hierChild" presStyleCnt="0"/>
      <dgm:spPr/>
    </dgm:pt>
  </dgm:ptLst>
  <dgm:cxnLst>
    <dgm:cxn modelId="{860C660E-0FF5-4A0B-A63B-82A908609E5A}" srcId="{3B3B3DA2-C6EA-40D3-8759-FA419E4DCE18}" destId="{999D0917-CB6D-4E7C-BAD8-1BE27E2E7740}" srcOrd="1" destOrd="0" parTransId="{4C0DBADB-A695-4405-BCB3-4D83A8174D88}" sibTransId="{F95C6A6A-C073-43F7-869E-79D2D439CCB0}"/>
    <dgm:cxn modelId="{F3DB5416-9D2E-4D72-B436-E265C950F5E0}" type="presOf" srcId="{6FB3090F-2249-4662-BA37-9DBA9B1854D7}" destId="{BFA8E8CE-5341-4EAA-8DA7-F3A7CB7B571A}" srcOrd="0" destOrd="0" presId="urn:microsoft.com/office/officeart/2008/layout/HorizontalMultiLevelHierarchy"/>
    <dgm:cxn modelId="{49A89B18-C966-4741-B559-418AED2F5160}" srcId="{3B3B3DA2-C6EA-40D3-8759-FA419E4DCE18}" destId="{D0424AA9-062E-4802-B10D-A8633D3BEBEE}" srcOrd="0" destOrd="0" parTransId="{7EAC83A3-8413-442A-942D-A59257B9A536}" sibTransId="{28F71322-ED23-48B1-9A59-7AA5F7BEE0BD}"/>
    <dgm:cxn modelId="{6A551523-66A3-44EB-B535-AB81F253C1A3}" type="presOf" srcId="{6FB3090F-2249-4662-BA37-9DBA9B1854D7}" destId="{002F1F6B-2642-4247-B517-D72F8D75BC31}" srcOrd="1" destOrd="0" presId="urn:microsoft.com/office/officeart/2008/layout/HorizontalMultiLevelHierarchy"/>
    <dgm:cxn modelId="{33ED2B40-6F16-4C8B-A1E9-E7264C81129C}" type="presOf" srcId="{367DFFCE-192F-4E86-AA3A-04A80CFE630F}" destId="{ED31A7FF-F015-4448-8749-0EF79B6F412A}" srcOrd="0" destOrd="0" presId="urn:microsoft.com/office/officeart/2008/layout/HorizontalMultiLevelHierarchy"/>
    <dgm:cxn modelId="{63E62F61-D0AF-4EF4-AD9A-07F42D7A5E0C}" type="presOf" srcId="{3B3B3DA2-C6EA-40D3-8759-FA419E4DCE18}" destId="{28289984-F596-4282-98C4-000C4440F5C8}" srcOrd="0" destOrd="0" presId="urn:microsoft.com/office/officeart/2008/layout/HorizontalMultiLevelHierarchy"/>
    <dgm:cxn modelId="{61CCE348-6408-4A8A-8BB0-DCD77E83A6A0}" type="presOf" srcId="{D0424AA9-062E-4802-B10D-A8633D3BEBEE}" destId="{C5AA5627-3B00-4BE5-9ECB-A78C59C3D2BB}" srcOrd="0" destOrd="0" presId="urn:microsoft.com/office/officeart/2008/layout/HorizontalMultiLevelHierarchy"/>
    <dgm:cxn modelId="{B9DAA46C-AAF8-4A3E-9C7A-60DA20ED1965}" type="presOf" srcId="{999D0917-CB6D-4E7C-BAD8-1BE27E2E7740}" destId="{BD5C3E1C-8545-4D18-8DCB-EB07D5AC8ECB}" srcOrd="0" destOrd="0" presId="urn:microsoft.com/office/officeart/2008/layout/HorizontalMultiLevelHierarchy"/>
    <dgm:cxn modelId="{2CA8C959-351F-4441-AE3C-1CC9A69BEDCD}" srcId="{3B3B3DA2-C6EA-40D3-8759-FA419E4DCE18}" destId="{E5B4DFB3-6D62-4399-8BBF-C619021EAE31}" srcOrd="2" destOrd="0" parTransId="{6FB3090F-2249-4662-BA37-9DBA9B1854D7}" sibTransId="{E807E61F-738B-46D3-B88A-3FE6F5758159}"/>
    <dgm:cxn modelId="{1AA34985-2D89-4758-A7C8-A5240E68DCA5}" type="presOf" srcId="{E5B4DFB3-6D62-4399-8BBF-C619021EAE31}" destId="{0B69D85E-39E3-4301-BADA-5BEBC21A6A40}" srcOrd="0" destOrd="0" presId="urn:microsoft.com/office/officeart/2008/layout/HorizontalMultiLevelHierarchy"/>
    <dgm:cxn modelId="{2A2F5F89-F33C-4C85-96F1-B08137D3B73E}" type="presOf" srcId="{7EAC83A3-8413-442A-942D-A59257B9A536}" destId="{47F9E58F-3C4B-4653-99EC-57A988DD8207}" srcOrd="1" destOrd="0" presId="urn:microsoft.com/office/officeart/2008/layout/HorizontalMultiLevelHierarchy"/>
    <dgm:cxn modelId="{96AC64B1-03DA-4492-8335-D3F825D59E80}" type="presOf" srcId="{4C0DBADB-A695-4405-BCB3-4D83A8174D88}" destId="{6C4086E6-24EF-4F58-A8FA-5D1E1BE092C5}" srcOrd="1" destOrd="0" presId="urn:microsoft.com/office/officeart/2008/layout/HorizontalMultiLevelHierarchy"/>
    <dgm:cxn modelId="{9B6DC4DC-9C82-41D8-B2ED-95EEE390D8EB}" type="presOf" srcId="{7EAC83A3-8413-442A-942D-A59257B9A536}" destId="{7DA52184-7443-419E-A3D9-BB23E97DA324}" srcOrd="0" destOrd="0" presId="urn:microsoft.com/office/officeart/2008/layout/HorizontalMultiLevelHierarchy"/>
    <dgm:cxn modelId="{5DFE48E3-71F7-4EBC-B001-9A43F3BFF49F}" srcId="{367DFFCE-192F-4E86-AA3A-04A80CFE630F}" destId="{3B3B3DA2-C6EA-40D3-8759-FA419E4DCE18}" srcOrd="0" destOrd="0" parTransId="{3A076511-D5EE-475E-BCE2-F4B915EC73BD}" sibTransId="{4EE13D45-CE2C-4F5E-8824-4154831B1EDD}"/>
    <dgm:cxn modelId="{62221CEA-0A4B-4833-AC57-2AB87F5DB4B5}" type="presOf" srcId="{4C0DBADB-A695-4405-BCB3-4D83A8174D88}" destId="{04BB24D7-863A-4312-94CE-CF81047C2D88}" srcOrd="0" destOrd="0" presId="urn:microsoft.com/office/officeart/2008/layout/HorizontalMultiLevelHierarchy"/>
    <dgm:cxn modelId="{CBA71798-E6EC-433A-A17A-22562939513F}" type="presParOf" srcId="{ED31A7FF-F015-4448-8749-0EF79B6F412A}" destId="{B2889D93-CEE3-4CBA-A803-15D7D392FE48}" srcOrd="0" destOrd="0" presId="urn:microsoft.com/office/officeart/2008/layout/HorizontalMultiLevelHierarchy"/>
    <dgm:cxn modelId="{1E0E987B-CA58-4C41-964E-941EA8039CDB}" type="presParOf" srcId="{B2889D93-CEE3-4CBA-A803-15D7D392FE48}" destId="{28289984-F596-4282-98C4-000C4440F5C8}" srcOrd="0" destOrd="0" presId="urn:microsoft.com/office/officeart/2008/layout/HorizontalMultiLevelHierarchy"/>
    <dgm:cxn modelId="{AFDB83EF-E205-4FFF-8E9D-A771DAF2B6FC}" type="presParOf" srcId="{B2889D93-CEE3-4CBA-A803-15D7D392FE48}" destId="{6CFD16C3-CB1E-44D3-8142-092820D5EFC5}" srcOrd="1" destOrd="0" presId="urn:microsoft.com/office/officeart/2008/layout/HorizontalMultiLevelHierarchy"/>
    <dgm:cxn modelId="{3445D322-FFAC-49B2-A65E-EB04C9343A5D}" type="presParOf" srcId="{6CFD16C3-CB1E-44D3-8142-092820D5EFC5}" destId="{7DA52184-7443-419E-A3D9-BB23E97DA324}" srcOrd="0" destOrd="0" presId="urn:microsoft.com/office/officeart/2008/layout/HorizontalMultiLevelHierarchy"/>
    <dgm:cxn modelId="{63F59F25-0CCD-49CC-BCD5-D7C077CD2225}" type="presParOf" srcId="{7DA52184-7443-419E-A3D9-BB23E97DA324}" destId="{47F9E58F-3C4B-4653-99EC-57A988DD8207}" srcOrd="0" destOrd="0" presId="urn:microsoft.com/office/officeart/2008/layout/HorizontalMultiLevelHierarchy"/>
    <dgm:cxn modelId="{043421BF-0C0D-4FEB-BB03-B12E4E869810}" type="presParOf" srcId="{6CFD16C3-CB1E-44D3-8142-092820D5EFC5}" destId="{225C262A-5B91-49D5-ABE7-184174A64506}" srcOrd="1" destOrd="0" presId="urn:microsoft.com/office/officeart/2008/layout/HorizontalMultiLevelHierarchy"/>
    <dgm:cxn modelId="{4723BDED-4E30-49DA-9F65-535125858A74}" type="presParOf" srcId="{225C262A-5B91-49D5-ABE7-184174A64506}" destId="{C5AA5627-3B00-4BE5-9ECB-A78C59C3D2BB}" srcOrd="0" destOrd="0" presId="urn:microsoft.com/office/officeart/2008/layout/HorizontalMultiLevelHierarchy"/>
    <dgm:cxn modelId="{F0F5896B-30FA-4A76-8D76-6BAA600BDC8C}" type="presParOf" srcId="{225C262A-5B91-49D5-ABE7-184174A64506}" destId="{A3019427-D20B-4018-95E7-E667C6F8A97F}" srcOrd="1" destOrd="0" presId="urn:microsoft.com/office/officeart/2008/layout/HorizontalMultiLevelHierarchy"/>
    <dgm:cxn modelId="{C8AA2B7A-A721-40E6-A335-157EBBA2682D}" type="presParOf" srcId="{6CFD16C3-CB1E-44D3-8142-092820D5EFC5}" destId="{04BB24D7-863A-4312-94CE-CF81047C2D88}" srcOrd="2" destOrd="0" presId="urn:microsoft.com/office/officeart/2008/layout/HorizontalMultiLevelHierarchy"/>
    <dgm:cxn modelId="{6233EDF9-E0A9-439C-B03D-85BF5975C0CA}" type="presParOf" srcId="{04BB24D7-863A-4312-94CE-CF81047C2D88}" destId="{6C4086E6-24EF-4F58-A8FA-5D1E1BE092C5}" srcOrd="0" destOrd="0" presId="urn:microsoft.com/office/officeart/2008/layout/HorizontalMultiLevelHierarchy"/>
    <dgm:cxn modelId="{947F36E4-EB6D-4C17-9526-55C687746BEE}" type="presParOf" srcId="{6CFD16C3-CB1E-44D3-8142-092820D5EFC5}" destId="{47AF9356-ADB9-4CC3-A4CF-A5A391AE427F}" srcOrd="3" destOrd="0" presId="urn:microsoft.com/office/officeart/2008/layout/HorizontalMultiLevelHierarchy"/>
    <dgm:cxn modelId="{1435B56C-DB71-497D-96BA-C5B5000DA11B}" type="presParOf" srcId="{47AF9356-ADB9-4CC3-A4CF-A5A391AE427F}" destId="{BD5C3E1C-8545-4D18-8DCB-EB07D5AC8ECB}" srcOrd="0" destOrd="0" presId="urn:microsoft.com/office/officeart/2008/layout/HorizontalMultiLevelHierarchy"/>
    <dgm:cxn modelId="{897978F8-DCCA-4FFB-9F75-A5BC92FA310F}" type="presParOf" srcId="{47AF9356-ADB9-4CC3-A4CF-A5A391AE427F}" destId="{A85C857F-03DE-4BC8-9DFA-9231C47747DD}" srcOrd="1" destOrd="0" presId="urn:microsoft.com/office/officeart/2008/layout/HorizontalMultiLevelHierarchy"/>
    <dgm:cxn modelId="{7A0DFD0B-88F2-4A1C-A321-51BFD466ED9D}" type="presParOf" srcId="{6CFD16C3-CB1E-44D3-8142-092820D5EFC5}" destId="{BFA8E8CE-5341-4EAA-8DA7-F3A7CB7B571A}" srcOrd="4" destOrd="0" presId="urn:microsoft.com/office/officeart/2008/layout/HorizontalMultiLevelHierarchy"/>
    <dgm:cxn modelId="{B0B0F7F8-3249-4C53-AEE8-13FAF0EA531D}" type="presParOf" srcId="{BFA8E8CE-5341-4EAA-8DA7-F3A7CB7B571A}" destId="{002F1F6B-2642-4247-B517-D72F8D75BC31}" srcOrd="0" destOrd="0" presId="urn:microsoft.com/office/officeart/2008/layout/HorizontalMultiLevelHierarchy"/>
    <dgm:cxn modelId="{FF88C2F2-50BD-4C3D-BE0F-3F9B0E083862}" type="presParOf" srcId="{6CFD16C3-CB1E-44D3-8142-092820D5EFC5}" destId="{0CF30DC0-D668-4436-A3B9-ED7885BA5428}" srcOrd="5" destOrd="0" presId="urn:microsoft.com/office/officeart/2008/layout/HorizontalMultiLevelHierarchy"/>
    <dgm:cxn modelId="{6D098C2D-B453-4F1D-96A5-CA401439CD40}" type="presParOf" srcId="{0CF30DC0-D668-4436-A3B9-ED7885BA5428}" destId="{0B69D85E-39E3-4301-BADA-5BEBC21A6A40}" srcOrd="0" destOrd="0" presId="urn:microsoft.com/office/officeart/2008/layout/HorizontalMultiLevelHierarchy"/>
    <dgm:cxn modelId="{0F2BEA93-556B-4579-8EF2-F966AB0B217A}" type="presParOf" srcId="{0CF30DC0-D668-4436-A3B9-ED7885BA5428}" destId="{5AF4F4E5-DD2B-425E-99F5-ED43D62DF2E4}" srcOrd="1" destOrd="0" presId="urn:microsoft.com/office/officeart/2008/layout/HorizontalMultiLevelHierarchy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A8E8CE-5341-4EAA-8DA7-F3A7CB7B571A}">
      <dsp:nvSpPr>
        <dsp:cNvPr id="0" name=""/>
        <dsp:cNvSpPr/>
      </dsp:nvSpPr>
      <dsp:spPr>
        <a:xfrm>
          <a:off x="4305939" y="2709333"/>
          <a:ext cx="675382" cy="12869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37691" y="0"/>
              </a:lnTo>
              <a:lnTo>
                <a:pt x="337691" y="1286933"/>
              </a:lnTo>
              <a:lnTo>
                <a:pt x="675382" y="1286933"/>
              </a:lnTo>
            </a:path>
          </a:pathLst>
        </a:custGeom>
        <a:noFill/>
        <a:ln w="28575" cap="flat" cmpd="sng" algn="ctr">
          <a:solidFill>
            <a:srgbClr val="101E4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607296" y="3316465"/>
        <a:ext cx="72669" cy="72669"/>
      </dsp:txXfrm>
    </dsp:sp>
    <dsp:sp modelId="{04BB24D7-863A-4312-94CE-CF81047C2D88}">
      <dsp:nvSpPr>
        <dsp:cNvPr id="0" name=""/>
        <dsp:cNvSpPr/>
      </dsp:nvSpPr>
      <dsp:spPr>
        <a:xfrm>
          <a:off x="4305939" y="2663613"/>
          <a:ext cx="67538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75382" y="45720"/>
              </a:lnTo>
            </a:path>
          </a:pathLst>
        </a:custGeom>
        <a:noFill/>
        <a:ln w="28575" cap="flat" cmpd="sng" algn="ctr">
          <a:solidFill>
            <a:srgbClr val="101E4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626746" y="2692448"/>
        <a:ext cx="33769" cy="33769"/>
      </dsp:txXfrm>
    </dsp:sp>
    <dsp:sp modelId="{7DA52184-7443-419E-A3D9-BB23E97DA324}">
      <dsp:nvSpPr>
        <dsp:cNvPr id="0" name=""/>
        <dsp:cNvSpPr/>
      </dsp:nvSpPr>
      <dsp:spPr>
        <a:xfrm>
          <a:off x="4305939" y="1422400"/>
          <a:ext cx="675382" cy="1286933"/>
        </a:xfrm>
        <a:custGeom>
          <a:avLst/>
          <a:gdLst/>
          <a:ahLst/>
          <a:cxnLst/>
          <a:rect l="0" t="0" r="0" b="0"/>
          <a:pathLst>
            <a:path>
              <a:moveTo>
                <a:pt x="0" y="1286933"/>
              </a:moveTo>
              <a:lnTo>
                <a:pt x="337691" y="1286933"/>
              </a:lnTo>
              <a:lnTo>
                <a:pt x="337691" y="0"/>
              </a:lnTo>
              <a:lnTo>
                <a:pt x="675382" y="0"/>
              </a:lnTo>
            </a:path>
          </a:pathLst>
        </a:custGeom>
        <a:noFill/>
        <a:ln w="28575" cap="flat" cmpd="sng" algn="ctr">
          <a:solidFill>
            <a:srgbClr val="101E4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607296" y="2029532"/>
        <a:ext cx="72669" cy="72669"/>
      </dsp:txXfrm>
    </dsp:sp>
    <dsp:sp modelId="{28289984-F596-4282-98C4-000C4440F5C8}">
      <dsp:nvSpPr>
        <dsp:cNvPr id="0" name=""/>
        <dsp:cNvSpPr/>
      </dsp:nvSpPr>
      <dsp:spPr>
        <a:xfrm>
          <a:off x="510701" y="736068"/>
          <a:ext cx="3643945" cy="3946530"/>
        </a:xfrm>
        <a:prstGeom prst="rect">
          <a:avLst/>
        </a:prstGeom>
        <a:solidFill>
          <a:srgbClr val="0067B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75" tIns="41275" rIns="41275" bIns="4127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0701" y="736068"/>
        <a:ext cx="3643945" cy="3946530"/>
      </dsp:txXfrm>
    </dsp:sp>
    <dsp:sp modelId="{C5AA5627-3B00-4BE5-9ECB-A78C59C3D2BB}">
      <dsp:nvSpPr>
        <dsp:cNvPr id="0" name=""/>
        <dsp:cNvSpPr/>
      </dsp:nvSpPr>
      <dsp:spPr>
        <a:xfrm>
          <a:off x="4981322" y="907626"/>
          <a:ext cx="3376913" cy="1029546"/>
        </a:xfrm>
        <a:prstGeom prst="rect">
          <a:avLst/>
        </a:prstGeom>
        <a:noFill/>
        <a:ln w="28575" cap="flat" cmpd="sng" algn="ctr">
          <a:solidFill>
            <a:srgbClr val="0067B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75" tIns="41275" rIns="41275" bIns="4127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>
            <a:solidFill>
              <a:srgbClr val="0067B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981322" y="907626"/>
        <a:ext cx="3376913" cy="1029546"/>
      </dsp:txXfrm>
    </dsp:sp>
    <dsp:sp modelId="{BD5C3E1C-8545-4D18-8DCB-EB07D5AC8ECB}">
      <dsp:nvSpPr>
        <dsp:cNvPr id="0" name=""/>
        <dsp:cNvSpPr/>
      </dsp:nvSpPr>
      <dsp:spPr>
        <a:xfrm>
          <a:off x="4981322" y="2194560"/>
          <a:ext cx="3376913" cy="1029546"/>
        </a:xfrm>
        <a:prstGeom prst="rect">
          <a:avLst/>
        </a:prstGeom>
        <a:noFill/>
        <a:ln w="28575" cap="flat" cmpd="sng" algn="ctr">
          <a:solidFill>
            <a:srgbClr val="0067B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75" tIns="41275" rIns="41275" bIns="4127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>
            <a:solidFill>
              <a:srgbClr val="0067B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981322" y="2194560"/>
        <a:ext cx="3376913" cy="1029546"/>
      </dsp:txXfrm>
    </dsp:sp>
    <dsp:sp modelId="{0B69D85E-39E3-4301-BADA-5BEBC21A6A40}">
      <dsp:nvSpPr>
        <dsp:cNvPr id="0" name=""/>
        <dsp:cNvSpPr/>
      </dsp:nvSpPr>
      <dsp:spPr>
        <a:xfrm>
          <a:off x="4981322" y="3481493"/>
          <a:ext cx="3376913" cy="1029546"/>
        </a:xfrm>
        <a:prstGeom prst="rect">
          <a:avLst/>
        </a:prstGeom>
        <a:noFill/>
        <a:ln w="28575" cap="flat" cmpd="sng" algn="ctr">
          <a:solidFill>
            <a:srgbClr val="0067B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75" tIns="41275" rIns="41275" bIns="4127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>
            <a:solidFill>
              <a:srgbClr val="0067B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981322" y="3481493"/>
        <a:ext cx="3376913" cy="10295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8"/>
          </a:xfrm>
          <a:prstGeom prst="rect">
            <a:avLst/>
          </a:prstGeom>
        </p:spPr>
        <p:txBody>
          <a:bodyPr vert="horz" lIns="95646" tIns="47823" rIns="95646" bIns="47823" rtlCol="0"/>
          <a:lstStyle>
            <a:lvl1pPr algn="l">
              <a:defRPr sz="13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8"/>
          </a:xfrm>
          <a:prstGeom prst="rect">
            <a:avLst/>
          </a:prstGeom>
        </p:spPr>
        <p:txBody>
          <a:bodyPr vert="horz" lIns="95646" tIns="47823" rIns="95646" bIns="47823" rtlCol="0"/>
          <a:lstStyle>
            <a:lvl1pPr algn="r">
              <a:defRPr sz="1300">
                <a:latin typeface="Calibri" panose="020F0502020204030204" pitchFamily="34" charset="0"/>
              </a:defRPr>
            </a:lvl1pPr>
          </a:lstStyle>
          <a:p>
            <a:fld id="{7D2EAED0-B749-4759-9A4A-5ECC8FC93352}" type="datetimeFigureOut">
              <a:rPr lang="en-US" smtClean="0"/>
              <a:pPr/>
              <a:t>4/25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46" tIns="47823" rIns="95646" bIns="4782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5646" tIns="47823" rIns="95646" bIns="47823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7"/>
          </a:xfrm>
          <a:prstGeom prst="rect">
            <a:avLst/>
          </a:prstGeom>
        </p:spPr>
        <p:txBody>
          <a:bodyPr vert="horz" lIns="95646" tIns="47823" rIns="95646" bIns="47823" rtlCol="0" anchor="b"/>
          <a:lstStyle>
            <a:lvl1pPr algn="l">
              <a:defRPr sz="13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7"/>
          </a:xfrm>
          <a:prstGeom prst="rect">
            <a:avLst/>
          </a:prstGeom>
        </p:spPr>
        <p:txBody>
          <a:bodyPr vert="horz" lIns="95646" tIns="47823" rIns="95646" bIns="47823" rtlCol="0" anchor="b"/>
          <a:lstStyle>
            <a:lvl1pPr algn="r">
              <a:defRPr sz="1300">
                <a:latin typeface="Calibri" panose="020F0502020204030204" pitchFamily="34" charset="0"/>
              </a:defRPr>
            </a:lvl1pPr>
          </a:lstStyle>
          <a:p>
            <a:fld id="{DA3EC2E8-79EB-49BD-8A0D-7F2B6B02B7E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1275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8231">
              <a:defRPr/>
            </a:pPr>
            <a:fld id="{4B46E53C-B540-F24C-A49E-7383CF25FB5C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8231">
                <a:defRPr/>
              </a:pPr>
              <a:t>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454022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10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3A168851-F514-7541-CF55-3236124B78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5837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8231">
              <a:defRPr/>
            </a:pPr>
            <a:fld id="{06EA5CF2-4792-48BD-BF96-5D6ECA4BA30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8231">
                <a:defRPr/>
              </a:pPr>
              <a:t>1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E8E1AA45-C73D-7C27-5167-DD87E1D0C4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7537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8231">
              <a:defRPr/>
            </a:pPr>
            <a:fld id="{06EA5CF2-4792-48BD-BF96-5D6ECA4BA30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8231">
                <a:defRPr/>
              </a:pPr>
              <a:t>1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9DAFA330-8A8C-C9F2-7A53-80FFA87397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9912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8231">
              <a:defRPr/>
            </a:pPr>
            <a:fld id="{06EA5CF2-4792-48BD-BF96-5D6ECA4BA30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8231">
                <a:defRPr/>
              </a:pPr>
              <a:t>1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FB0A0024-87C7-4DD7-24AB-E4636AB6E6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951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14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D9378501-C4D7-AF6D-0D97-04705303BE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3314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15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95C64DB-5C2D-117D-AE1B-9BB6D491C4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3499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9182CA-20AC-E299-E9F6-4B2BECD293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613DD3-3B1D-D37D-B421-856B85FD05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C3299-F687-BF03-E3A3-A9F9F27E63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8231">
              <a:defRPr/>
            </a:pPr>
            <a:fld id="{093E09F8-A1ED-4DDC-9C2D-102319D0BF2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8231">
                <a:defRPr/>
              </a:pPr>
              <a:t>1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44E5BD2A-4914-092E-8BFF-FB91E70EB20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8906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CF303-474C-EAFA-2268-616C0FDBFD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713F32-0A9E-31A2-DA99-7CBC5AD94D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19133F-0522-FE39-3260-CAE546033F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17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8C7F97D9-161E-8A20-B4B7-9CC9A40397E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1507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4842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8231">
              <a:defRPr/>
            </a:pPr>
            <a:fld id="{650D55AF-1CCF-4F69-B702-BBF9A0D9DB70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8231">
                <a:defRPr/>
              </a:pPr>
              <a:t>1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D0F47D6B-C4BC-7C9B-1EC4-931D24F4DE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4024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6094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https://cdn.jwplayer.com/previews/oR6Rkpap-CeEBvWnE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5893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https://cdn.jwplayer.com/previews/YzSLQ7nD-CeEBvWnE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829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5391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23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CC7CAF9B-C374-5052-F3D2-7ADEF5E8BF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58140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24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3D1C424-1F62-6A5F-409C-2B31F447DB6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39840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25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EDEC8CA9-EAE3-5D4D-62F1-C13A430B11F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0698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26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A1E1430-E74B-7F9C-057C-97F0AA1774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29235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27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E4D8D96F-ED44-9E21-B289-272157921A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0960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0422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B43B3-8F7A-23F2-A98C-92BC888525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44D5D2-7AB3-485A-DFEB-8F663F45F2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1D21C-00B2-FFA0-C553-1EA83EEC50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8231">
              <a:defRPr/>
            </a:pPr>
            <a:fld id="{093E09F8-A1ED-4DDC-9C2D-102319D0BF2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78231">
                <a:defRPr/>
              </a:pPr>
              <a:t>2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81B0F191-0B34-B533-918A-57345B3D400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5243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837253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30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DEBB60E8-4E5E-B023-413A-F1ABB1E1FA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40770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3506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32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E5D15E82-A536-9FCE-E0E6-05AB4E2737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11359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33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A4CCD8F5-45FB-0ECF-5743-2203A111D6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34957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34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D8082F1A-9B71-D030-C523-F8D066C772C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58190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35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116D0F49-CC64-3E11-F76A-85DEE06BA6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85289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36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AB5667CA-8BBF-B245-6E82-24A8AA4D20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80856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37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623B972A-0B5A-8FAF-2C5C-4867B26EE5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186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ABFADE-DFB6-19E9-565B-09369F66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645CE0A-9E28-9E83-0DB3-A1EEABE9CC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D8039-397A-C8B9-25CA-A9B9BA9B10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38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1E60F7C3-9B1C-5C03-6E27-E2B560B5CA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69157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A00AEF-1E2B-5E67-5A98-1CAE7E6391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8C9035-5C6F-25C6-EF6A-C0A614B1E3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BDBFB-A80B-1B11-C152-6D7D4A7923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39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DFE3E730-C80B-7DD5-3BB1-F15E114CF72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7029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42392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40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D7D70B73-8157-41D1-01AB-DD6DBA3770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4617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41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E89D18B5-EECA-FA26-9EA1-E710FA2922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67833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42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E922D287-AF6B-5BF8-3F12-67C519B347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45660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43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4EBE8E31-34D7-45A9-9CA6-16842C7617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04981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44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353C52E-FF52-1C14-0693-8D3FBB0EBE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21379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45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EDBF16AB-28AC-35BA-A589-E39A790E2F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69910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57935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6462">
              <a:defRPr/>
            </a:pPr>
            <a:fld id="{17DA4111-9010-0B49-84B8-4A8C4B93F780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56462">
                <a:defRPr/>
              </a:pPr>
              <a:t>4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20BE9DD4-9CFA-3A06-57ED-440FA13183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09274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6462">
              <a:defRPr/>
            </a:pPr>
            <a:fld id="{17DA4111-9010-0B49-84B8-4A8C4B93F780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56462">
                <a:defRPr/>
              </a:pPr>
              <a:t>4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36432B4A-0F20-A427-FB42-2EED512F63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64047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49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444B06F9-EE8E-317E-DABB-56288873710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985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E3521A-7904-F768-C536-2A6231B2051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478231">
              <a:defRPr/>
            </a:pPr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73F95266-548D-974E-4167-B04F5BD182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478231">
              <a:defRPr/>
            </a:pPr>
            <a:r>
              <a:rPr lang="en-US">
                <a:solidFill>
                  <a:prstClr val="black"/>
                </a:solidFill>
                <a:latin typeface="Calibri" panose="020F0502020204030204"/>
              </a:rPr>
              <a:t>STAR Autism Support</a:t>
            </a:r>
          </a:p>
        </p:txBody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EA650883-EFAC-CA3F-BFB3-F29495E8E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470499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03430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pPr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67951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3566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056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795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478231">
              <a:defRPr/>
            </a:pPr>
            <a:r>
              <a:rPr lang="en-US">
                <a:solidFill>
                  <a:prstClr val="black"/>
                </a:solidFill>
                <a:latin typeface="Calibri" panose="020F0502020204030204"/>
              </a:rPr>
              <a:t>STAR Autism Suppor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478231">
              <a:defRPr/>
            </a:pPr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9D2497B5-E5C3-E88E-1170-9884EE80A3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682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3EC2E8-79EB-49BD-8A0D-7F2B6B02B7E7}" type="slidenum">
              <a:rPr lang="en-US" smtClean="0"/>
              <a:t>9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C6100994-4A35-84CB-1553-EB039FB8DF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286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- Opening slide: Space for logo, title and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1">
            <a:extLst>
              <a:ext uri="{FF2B5EF4-FFF2-40B4-BE49-F238E27FC236}">
                <a16:creationId xmlns:a16="http://schemas.microsoft.com/office/drawing/2014/main" id="{268ABC62-F64E-D086-ED93-155009BB10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92161" y="1676418"/>
            <a:ext cx="2938120" cy="4571982"/>
          </a:xfrm>
          <a:prstGeom prst="rect">
            <a:avLst/>
          </a:prstGeom>
          <a:gradFill flip="none" rotWithShape="1">
            <a:gsLst>
              <a:gs pos="0">
                <a:srgbClr val="9FE1FF"/>
              </a:gs>
              <a:gs pos="10000">
                <a:srgbClr val="FFFFFF"/>
              </a:gs>
              <a:gs pos="71000">
                <a:srgbClr val="FFFFFF"/>
              </a:gs>
              <a:gs pos="83000">
                <a:srgbClr val="93DEFF"/>
              </a:gs>
              <a:gs pos="100000">
                <a:srgbClr val="FFFFFF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2D87F21-D903-5709-3966-995AF1EA1B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14157" y="1156648"/>
            <a:ext cx="8192942" cy="1907022"/>
          </a:xfrm>
        </p:spPr>
        <p:txBody>
          <a:bodyPr lIns="0" tIns="457200" anchor="ctr">
            <a:noAutofit/>
          </a:bodyPr>
          <a:lstStyle>
            <a:lvl1pPr algn="ctr">
              <a:defRPr sz="3600" spc="200" baseline="0">
                <a:solidFill>
                  <a:srgbClr val="0055A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090423-9E1A-DCF3-4D90-27023E53B3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14156" y="3180472"/>
            <a:ext cx="8193643" cy="2534528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/>
            </a:lvl1pPr>
            <a:lvl2pPr marL="228600" indent="0">
              <a:buNone/>
              <a:defRPr sz="2400"/>
            </a:lvl2pPr>
            <a:lvl3pPr marL="457200" indent="0">
              <a:buNone/>
              <a:defRPr sz="2400"/>
            </a:lvl3pPr>
            <a:lvl4pPr marL="457200" indent="0">
              <a:buNone/>
              <a:defRPr sz="2400"/>
            </a:lvl4pPr>
            <a:lvl5pPr marL="628650" indent="0">
              <a:buNone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D0D09D0-A39B-4E1A-D5AF-76A6E25682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2075" y="2891912"/>
            <a:ext cx="2938463" cy="2534528"/>
          </a:xfrm>
        </p:spPr>
        <p:txBody>
          <a:bodyPr/>
          <a:lstStyle>
            <a:lvl1pPr marL="0" indent="0">
              <a:buNone/>
              <a:defRPr sz="2400"/>
            </a:lvl1pPr>
            <a:lvl2pPr marL="228600" indent="0">
              <a:buNone/>
              <a:defRPr sz="2400"/>
            </a:lvl2pPr>
            <a:lvl3pPr marL="457200" indent="0">
              <a:buNone/>
              <a:defRPr sz="2400"/>
            </a:lvl3pPr>
            <a:lvl4pPr marL="457200" indent="0">
              <a:buNone/>
              <a:defRPr sz="2400"/>
            </a:lvl4pPr>
            <a:lvl5pPr marL="628650" indent="0">
              <a:buNone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1" descr="Picture 1">
            <a:extLst>
              <a:ext uri="{FF2B5EF4-FFF2-40B4-BE49-F238E27FC236}">
                <a16:creationId xmlns:a16="http://schemas.microsoft.com/office/drawing/2014/main" id="{234AE102-9263-0CD6-27C1-191F0255C16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7782" y="1156648"/>
            <a:ext cx="2852755" cy="146626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065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84">
          <p15:clr>
            <a:srgbClr val="FBAE40"/>
          </p15:clr>
        </p15:guide>
        <p15:guide id="2" pos="39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 - Title, body text (bigger), space for 2 graphics on the righ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71640"/>
            <a:ext cx="10978994" cy="1159834"/>
          </a:xfrm>
        </p:spPr>
        <p:txBody>
          <a:bodyPr lIns="0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732466-BF6C-643A-FCF7-1F74CBFDF8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6974" y="2422422"/>
            <a:ext cx="8561860" cy="3825978"/>
          </a:xfrm>
        </p:spPr>
        <p:txBody>
          <a:bodyPr/>
          <a:lstStyle>
            <a:lvl1pPr marL="342900" indent="-342900">
              <a:buSzPct val="108000"/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</p:txBody>
      </p:sp>
      <p:sp>
        <p:nvSpPr>
          <p:cNvPr id="3" name="Picture Placeholder 3" descr="Place holder 1 for 1 small graphic placed on the right side of the content box, Place holder for graphic placed on the right side of the content box, column 1, row 1.">
            <a:extLst>
              <a:ext uri="{FF2B5EF4-FFF2-40B4-BE49-F238E27FC236}">
                <a16:creationId xmlns:a16="http://schemas.microsoft.com/office/drawing/2014/main" id="{7B3BAD8A-461A-92C5-A48B-030E89E94FC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832678" y="2535023"/>
            <a:ext cx="1724152" cy="1153461"/>
          </a:xfrm>
          <a:ln w="127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3" descr="Place holder 2 for 1 small graphic placed on the right side of the content box, column 1, row 2.">
            <a:extLst>
              <a:ext uri="{FF2B5EF4-FFF2-40B4-BE49-F238E27FC236}">
                <a16:creationId xmlns:a16="http://schemas.microsoft.com/office/drawing/2014/main" id="{4ADD3FB1-531D-992B-BB31-9A4D677D5E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850874" y="3877976"/>
            <a:ext cx="1724152" cy="1153461"/>
          </a:xfrm>
          <a:ln w="127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5395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- Title, body text, space for graphics on the righ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70638"/>
            <a:ext cx="10978994" cy="1153461"/>
          </a:xfrm>
        </p:spPr>
        <p:txBody>
          <a:bodyPr l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331945-340A-0FFE-E00E-E953F83F0E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6974" y="2422422"/>
            <a:ext cx="5486400" cy="3825978"/>
          </a:xfrm>
        </p:spPr>
        <p:txBody>
          <a:bodyPr/>
          <a:lstStyle>
            <a:lvl1pPr marL="342900" indent="-342900">
              <a:buSzPct val="108000"/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0"/>
            <a:endParaRPr lang="en-US"/>
          </a:p>
        </p:txBody>
      </p:sp>
      <p:sp>
        <p:nvSpPr>
          <p:cNvPr id="3" name="Picture Placeholder 3" descr="Place holder 1 for 1 small graphic placed on the right side of the content box, column 1.">
            <a:extLst>
              <a:ext uri="{FF2B5EF4-FFF2-40B4-BE49-F238E27FC236}">
                <a16:creationId xmlns:a16="http://schemas.microsoft.com/office/drawing/2014/main" id="{61709074-C458-EBDC-E8E7-ED3647E2FF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28596" y="2535023"/>
            <a:ext cx="1724152" cy="1153461"/>
          </a:xfrm>
          <a:ln w="127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" name="Picture Placeholder 3" descr="Place holder for graphic placed on the right side of the content box, column 2">
            <a:extLst>
              <a:ext uri="{FF2B5EF4-FFF2-40B4-BE49-F238E27FC236}">
                <a16:creationId xmlns:a16="http://schemas.microsoft.com/office/drawing/2014/main" id="{F3511A5F-68FD-FF76-C581-E992D19DFA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405581" y="2548671"/>
            <a:ext cx="1724152" cy="1153461"/>
          </a:xfrm>
          <a:ln w="127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3" descr="Place holder 2 for 1 small graphic placed on the right side of the content box, column 1.">
            <a:extLst>
              <a:ext uri="{FF2B5EF4-FFF2-40B4-BE49-F238E27FC236}">
                <a16:creationId xmlns:a16="http://schemas.microsoft.com/office/drawing/2014/main" id="{ACDA6B86-7D4E-9235-738A-1D7C3F89F0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46792" y="3877976"/>
            <a:ext cx="1724152" cy="1153461"/>
          </a:xfrm>
          <a:ln w="127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6" name="Picture Placeholder 3" descr="Place holder 4 for 1 small graphic placed on the right side of the content box, Place holder for graphic placed on the right side of the content box, column 2.">
            <a:extLst>
              <a:ext uri="{FF2B5EF4-FFF2-40B4-BE49-F238E27FC236}">
                <a16:creationId xmlns:a16="http://schemas.microsoft.com/office/drawing/2014/main" id="{6582B32A-D1EF-11E4-ED7C-62E283CCD9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409545" y="3873389"/>
            <a:ext cx="1724152" cy="1153461"/>
          </a:xfrm>
          <a:ln w="127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521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Title and 2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70638"/>
            <a:ext cx="10978994" cy="1153461"/>
          </a:xfrm>
        </p:spPr>
        <p:txBody>
          <a:bodyPr lIns="0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A6CF40A-55C8-B613-31A8-8994A27899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2407674"/>
            <a:ext cx="5291328" cy="384072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2"/>
              </a:buClr>
              <a:buSzPct val="108000"/>
              <a:buFont typeface="Wingdings" panose="05000000000000000000" pitchFamily="2" charset="2"/>
              <a:buChar char="«"/>
              <a:defRPr sz="2400"/>
            </a:lvl1pPr>
            <a:lvl2pPr>
              <a:defRPr sz="2400"/>
            </a:lvl2pPr>
            <a:lvl3pPr>
              <a:defRPr sz="2400"/>
            </a:lvl3pPr>
            <a:lvl4pPr marL="914400" indent="-285750"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3EA198-7A13-1A9A-E33F-C44F336092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91263" y="2408488"/>
            <a:ext cx="5300662" cy="3839912"/>
          </a:xfrm>
          <a:prstGeom prst="rect">
            <a:avLst/>
          </a:prstGeom>
        </p:spPr>
        <p:txBody>
          <a:bodyPr/>
          <a:lstStyle>
            <a:lvl1pPr>
              <a:buSzPct val="108000"/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8446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Title, 2 subtitles, 2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FC4EFC0-E246-9774-D72D-EBB4D092F2F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75536" y="3071324"/>
            <a:ext cx="3739389" cy="3175808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70638"/>
            <a:ext cx="10978994" cy="1153461"/>
          </a:xfrm>
        </p:spPr>
        <p:txBody>
          <a:bodyPr lIns="0"/>
          <a:lstStyle>
            <a:lvl1pPr algn="ctr">
              <a:defRPr>
                <a:solidFill>
                  <a:srgbClr val="0055A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0B9B7C0-9CB2-5247-86BD-7ADF7C37B1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332" y="2412683"/>
            <a:ext cx="5280596" cy="58373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50000"/>
              </a:lnSpc>
              <a:buNone/>
              <a:defRPr sz="2400" b="1">
                <a:solidFill>
                  <a:srgbClr val="0055A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A0D039-2EB3-08DF-EC1F-C26716E1E2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1074" y="2412683"/>
            <a:ext cx="5283770" cy="58373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50000"/>
              </a:lnSpc>
              <a:buNone/>
              <a:defRPr sz="2400" b="1">
                <a:solidFill>
                  <a:srgbClr val="0055A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439D1A9D-E5F9-A7EA-1D2D-B662F6E3BD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63264" y="3085002"/>
            <a:ext cx="3739389" cy="31758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3225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 - Title, subtitle and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70638"/>
            <a:ext cx="10978994" cy="1153461"/>
          </a:xfrm>
        </p:spPr>
        <p:txBody>
          <a:bodyPr lIns="0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0B9B7C0-9CB2-5247-86BD-7ADF7C37B1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332" y="2412683"/>
            <a:ext cx="10968260" cy="583735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5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A6CF40A-55C8-B613-31A8-8994A27899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599" y="3071958"/>
            <a:ext cx="10978993" cy="3176442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2"/>
              </a:buClr>
              <a:buSzPct val="108000"/>
              <a:buFont typeface="Wingdings" panose="05000000000000000000" pitchFamily="2" charset="2"/>
              <a:buChar char="«"/>
              <a:defRPr sz="2400"/>
            </a:lvl1pPr>
            <a:lvl2pPr>
              <a:defRPr sz="2400"/>
            </a:lvl2pPr>
            <a:lvl3pPr>
              <a:defRPr sz="2400"/>
            </a:lvl3pPr>
            <a:lvl4pPr marL="914400" indent="-285750"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4015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b - Title, subtitle and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70638"/>
            <a:ext cx="10978994" cy="1153461"/>
          </a:xfrm>
        </p:spPr>
        <p:txBody>
          <a:bodyPr lIns="0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A6CF40A-55C8-B613-31A8-8994A27899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90484" y="2509684"/>
            <a:ext cx="3080676" cy="3738715"/>
          </a:xfrm>
          <a:prstGeom prst="rect">
            <a:avLst/>
          </a:prstGeom>
        </p:spPr>
        <p:txBody>
          <a:bodyPr anchor="ctr"/>
          <a:lstStyle>
            <a:lvl1pPr marL="342900" indent="-342900">
              <a:buClr>
                <a:schemeClr val="accent2"/>
              </a:buClr>
              <a:buSzPct val="108000"/>
              <a:buFont typeface="Wingdings" panose="05000000000000000000" pitchFamily="2" charset="2"/>
              <a:buChar char="«"/>
              <a:defRPr sz="2400"/>
            </a:lvl1pPr>
            <a:lvl2pPr>
              <a:defRPr sz="2400"/>
            </a:lvl2pPr>
            <a:lvl3pPr>
              <a:defRPr sz="2400"/>
            </a:lvl3pPr>
            <a:lvl4pPr marL="914400" indent="-285750"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B8AFEC5-3B2E-4A21-174B-DEACCE4B2A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61544" y="2492476"/>
            <a:ext cx="3080676" cy="3738715"/>
          </a:xfrm>
          <a:prstGeom prst="rect">
            <a:avLst/>
          </a:prstGeom>
        </p:spPr>
        <p:txBody>
          <a:bodyPr anchor="ctr"/>
          <a:lstStyle>
            <a:lvl1pPr marL="342900" indent="-342900">
              <a:buClr>
                <a:schemeClr val="accent2"/>
              </a:buClr>
              <a:buSzPct val="108000"/>
              <a:buFont typeface="Wingdings" panose="05000000000000000000" pitchFamily="2" charset="2"/>
              <a:buChar char="«"/>
              <a:defRPr sz="2400"/>
            </a:lvl1pPr>
            <a:lvl2pPr>
              <a:defRPr sz="2400"/>
            </a:lvl2pPr>
            <a:lvl3pPr>
              <a:defRPr sz="2400"/>
            </a:lvl3pPr>
            <a:lvl4pPr marL="914400" indent="-285750"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6F16EEB-C6A2-B3C3-4CEC-688F698BD84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62725" y="2507224"/>
            <a:ext cx="3080676" cy="3738715"/>
          </a:xfrm>
          <a:prstGeom prst="rect">
            <a:avLst/>
          </a:prstGeom>
        </p:spPr>
        <p:txBody>
          <a:bodyPr anchor="ctr"/>
          <a:lstStyle>
            <a:lvl1pPr marL="342900" indent="-342900">
              <a:buClr>
                <a:schemeClr val="accent2"/>
              </a:buClr>
              <a:buSzPct val="108000"/>
              <a:buFont typeface="Wingdings" panose="05000000000000000000" pitchFamily="2" charset="2"/>
              <a:buChar char="«"/>
              <a:defRPr sz="2400"/>
            </a:lvl1pPr>
            <a:lvl2pPr>
              <a:defRPr sz="2400"/>
            </a:lvl2pPr>
            <a:lvl3pPr>
              <a:defRPr sz="2400"/>
            </a:lvl3pPr>
            <a:lvl4pPr marL="914400" indent="-285750"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6951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- Title and blank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61007"/>
            <a:ext cx="10978994" cy="1181100"/>
          </a:xfrm>
        </p:spPr>
        <p:txBody>
          <a:bodyPr l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3" descr="Place holder for 1 big graphic placed on the center.">
            <a:extLst>
              <a:ext uri="{FF2B5EF4-FFF2-40B4-BE49-F238E27FC236}">
                <a16:creationId xmlns:a16="http://schemas.microsoft.com/office/drawing/2014/main" id="{F1284B52-48E4-B7CE-253A-20E8A8B831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1" y="2535022"/>
            <a:ext cx="10981882" cy="3713377"/>
          </a:xfrm>
          <a:ln w="127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6529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- Title and blank space for a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61007"/>
            <a:ext cx="10978994" cy="1181100"/>
          </a:xfrm>
        </p:spPr>
        <p:txBody>
          <a:bodyPr lIns="0"/>
          <a:lstStyle>
            <a:lvl1pPr algn="ctr">
              <a:defRPr>
                <a:solidFill>
                  <a:srgbClr val="0055A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Media Placeholder 3" descr="Place holder for media, video (1) placed on the center.">
            <a:extLst>
              <a:ext uri="{FF2B5EF4-FFF2-40B4-BE49-F238E27FC236}">
                <a16:creationId xmlns:a16="http://schemas.microsoft.com/office/drawing/2014/main" id="{05CBB458-4522-04DE-D2A9-BC0C25E7A78C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2397209" y="2400300"/>
            <a:ext cx="7377113" cy="3848100"/>
          </a:xfrm>
          <a:ln>
            <a:solidFill>
              <a:schemeClr val="bg1">
                <a:lumMod val="50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5" name="Picture 4" descr="A blue star on a computer screen&#10;&#10;AI-generated content may be incorrect.">
            <a:extLst>
              <a:ext uri="{FF2B5EF4-FFF2-40B4-BE49-F238E27FC236}">
                <a16:creationId xmlns:a16="http://schemas.microsoft.com/office/drawing/2014/main" id="{30B52562-1772-BF24-06D2-653C9878DF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76597"/>
            <a:ext cx="2820167" cy="154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084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- Title and blank space for a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61007"/>
            <a:ext cx="10978994" cy="1181100"/>
          </a:xfrm>
        </p:spPr>
        <p:txBody>
          <a:bodyPr l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able Placeholder 6" descr="Place holder for a table placed on the center.">
            <a:extLst>
              <a:ext uri="{FF2B5EF4-FFF2-40B4-BE49-F238E27FC236}">
                <a16:creationId xmlns:a16="http://schemas.microsoft.com/office/drawing/2014/main" id="{539594D5-2EA1-8308-878B-20FF6928A325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12775" y="2400300"/>
            <a:ext cx="10979150" cy="3848100"/>
          </a:xfrm>
          <a:ln w="1905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0506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6 - Title and blank space for a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61007"/>
            <a:ext cx="10978994" cy="1181100"/>
          </a:xfrm>
        </p:spPr>
        <p:txBody>
          <a:bodyPr l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hart Placeholder 3" descr="Place holder for a chart placed on the center.">
            <a:extLst>
              <a:ext uri="{FF2B5EF4-FFF2-40B4-BE49-F238E27FC236}">
                <a16:creationId xmlns:a16="http://schemas.microsoft.com/office/drawing/2014/main" id="{FC5B6137-9B9E-E32D-B202-DB998E6988F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09600" y="2400300"/>
            <a:ext cx="10982325" cy="3848100"/>
          </a:xfrm>
          <a:ln w="1905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9812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b - Title and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90" y="1170638"/>
            <a:ext cx="10978992" cy="1153461"/>
          </a:xfrm>
        </p:spPr>
        <p:txBody>
          <a:bodyPr lIns="0"/>
          <a:lstStyle>
            <a:lvl1pPr algn="ctr">
              <a:defRPr>
                <a:solidFill>
                  <a:srgbClr val="0055A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CE71DD-D39E-430D-92BA-5FB446CDB3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2488" y="2421566"/>
            <a:ext cx="10978994" cy="3826834"/>
          </a:xfrm>
          <a:prstGeom prst="rect">
            <a:avLst/>
          </a:prstGeom>
        </p:spPr>
        <p:txBody>
          <a:bodyPr lIns="274320"/>
          <a:lstStyle>
            <a:lvl1pPr marL="342900" indent="-342900" algn="l">
              <a:buSzPct val="108000"/>
              <a:buFont typeface="Arial" panose="020B0604020202020204" pitchFamily="34" charset="0"/>
              <a:buChar char="•"/>
              <a:defRPr sz="2400"/>
            </a:lvl1pPr>
            <a:lvl2pPr marL="571500" indent="-342900" algn="l">
              <a:buClr>
                <a:srgbClr val="003399"/>
              </a:buClr>
              <a:buSzPct val="80000"/>
              <a:buFont typeface="Courier New" panose="02070309020205020404" pitchFamily="49" charset="0"/>
              <a:buChar char="o"/>
              <a:defRPr sz="2400"/>
            </a:lvl2pPr>
            <a:lvl3pPr marL="800100" indent="-342900" algn="l">
              <a:buClr>
                <a:srgbClr val="001689"/>
              </a:buClr>
              <a:buSzPct val="100000"/>
              <a:buFont typeface="Arial" panose="020B0604020202020204" pitchFamily="34" charset="0"/>
              <a:buChar char="•"/>
              <a:defRPr sz="2400"/>
            </a:lvl3pPr>
            <a:lvl4pPr>
              <a:defRPr sz="2400"/>
            </a:lvl4pPr>
            <a:lvl5pPr marL="914400" indent="-285750" algn="l">
              <a:buClr>
                <a:srgbClr val="003399"/>
              </a:buClr>
              <a:buSzPct val="60000"/>
              <a:buFont typeface="Courier New" panose="02070309020205020404" pitchFamily="49" charset="0"/>
              <a:buChar char="o"/>
              <a:defRPr sz="2400"/>
            </a:lvl5pPr>
            <a:lvl6pPr marL="1143000" indent="-342900" algn="l">
              <a:buClr>
                <a:srgbClr val="003399"/>
              </a:buClr>
              <a:buSzPct val="90000"/>
              <a:buFont typeface="Arial" panose="020B0604020202020204" pitchFamily="34" charset="0"/>
              <a:buChar char="•"/>
              <a:defRPr sz="2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6623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- Closing slide: space for logo at top, title and body text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2D87F21-D903-5709-3966-995AF1EA1B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6868" y="2895455"/>
            <a:ext cx="11000232" cy="914400"/>
          </a:xfrm>
        </p:spPr>
        <p:txBody>
          <a:bodyPr anchor="ctr">
            <a:noAutofit/>
          </a:bodyPr>
          <a:lstStyle>
            <a:lvl1pPr algn="ctr">
              <a:defRPr sz="3600" spc="200" baseline="0">
                <a:solidFill>
                  <a:srgbClr val="10182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0EE3E1A-3892-12C4-CD2F-B776ED7BD2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6425" y="3810000"/>
            <a:ext cx="11001375" cy="2438400"/>
          </a:xfrm>
          <a:prstGeom prst="rect">
            <a:avLst/>
          </a:prstGeom>
        </p:spPr>
        <p:txBody>
          <a:bodyPr/>
          <a:lstStyle>
            <a:lvl1pPr marL="0" indent="0" algn="ctr">
              <a:buSzPct val="10800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61758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tting to Know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3E87A9EE-CBCC-4647-B334-FF0C0BB9D5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22463" y="6348492"/>
            <a:ext cx="1000263" cy="440235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8753B5-EF05-44AC-BE13-97B485BB754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76301" y="2307231"/>
            <a:ext cx="5366759" cy="4041261"/>
          </a:xfrm>
        </p:spPr>
        <p:txBody>
          <a:bodyPr anchor="ctr">
            <a:normAutofit/>
          </a:bodyPr>
          <a:lstStyle>
            <a:lvl1pPr marL="339725" indent="-339725">
              <a:buClr>
                <a:srgbClr val="F47D4C"/>
              </a:buClr>
              <a:buFont typeface="Wingdings" panose="05000000000000000000" pitchFamily="2" charset="2"/>
              <a:buChar char="«"/>
              <a:defRPr sz="2400"/>
            </a:lvl1pPr>
            <a:lvl2pPr marL="685800" indent="-228600">
              <a:buClr>
                <a:srgbClr val="0055A5"/>
              </a:buClr>
              <a:buFont typeface="Wingdings" panose="05000000000000000000" pitchFamily="2" charset="2"/>
              <a:buChar char="«"/>
              <a:defRPr sz="2000"/>
            </a:lvl2pPr>
            <a:lvl3pPr marL="1143000" indent="-228600">
              <a:buClr>
                <a:srgbClr val="F47D4C"/>
              </a:buClr>
              <a:buFont typeface="Wingdings" panose="05000000000000000000" pitchFamily="2" charset="2"/>
              <a:buChar char="«"/>
              <a:defRPr sz="1800"/>
            </a:lvl3pPr>
            <a:lvl4pPr marL="16002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4pPr>
            <a:lvl5pPr marL="20574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8582AF63-1B15-693D-578C-6C046E2DB5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30" t="-9776" r="18222" b="-9311"/>
          <a:stretch/>
        </p:blipFill>
        <p:spPr>
          <a:xfrm>
            <a:off x="6935786" y="2448277"/>
            <a:ext cx="3200400" cy="3200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D9B8E4-C7B0-529E-6910-6B4995AF67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517" y="1126131"/>
            <a:ext cx="10966450" cy="1181100"/>
          </a:xfrm>
        </p:spPr>
        <p:txBody>
          <a:bodyPr anchor="ctr"/>
          <a:lstStyle>
            <a:lvl1pPr marL="0" indent="0" algn="ctr">
              <a:buNone/>
              <a:defRPr sz="3600" b="1">
                <a:solidFill>
                  <a:srgbClr val="0055A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49946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etting to Know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3E87A9EE-CBCC-4647-B334-FF0C0BB9D5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22463" y="6348492"/>
            <a:ext cx="1000263" cy="440235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8753B5-EF05-44AC-BE13-97B485BB754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719029" y="2219325"/>
            <a:ext cx="5230812" cy="3839153"/>
          </a:xfrm>
        </p:spPr>
        <p:txBody>
          <a:bodyPr anchor="ctr">
            <a:normAutofit/>
          </a:bodyPr>
          <a:lstStyle>
            <a:lvl1pPr marL="339725" indent="-339725">
              <a:buClr>
                <a:srgbClr val="F47D4C"/>
              </a:buClr>
              <a:buFont typeface="Wingdings" panose="05000000000000000000" pitchFamily="2" charset="2"/>
              <a:buChar char="«"/>
              <a:defRPr sz="2400"/>
            </a:lvl1pPr>
            <a:lvl2pPr marL="685800" indent="-228600">
              <a:buClr>
                <a:srgbClr val="F47D4C"/>
              </a:buClr>
              <a:buFont typeface="Wingdings" panose="05000000000000000000" pitchFamily="2" charset="2"/>
              <a:buChar char="«"/>
              <a:defRPr sz="2000"/>
            </a:lvl2pPr>
            <a:lvl3pPr marL="1143000" indent="-228600">
              <a:buClr>
                <a:srgbClr val="F47D4C"/>
              </a:buClr>
              <a:buFont typeface="Wingdings" panose="05000000000000000000" pitchFamily="2" charset="2"/>
              <a:buChar char="«"/>
              <a:defRPr sz="1800"/>
            </a:lvl3pPr>
            <a:lvl4pPr marL="16002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4pPr>
            <a:lvl5pPr marL="20574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8582AF63-1B15-693D-578C-6C046E2DB5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30" t="-9776" r="18222" b="-9311"/>
          <a:stretch/>
        </p:blipFill>
        <p:spPr>
          <a:xfrm>
            <a:off x="1782162" y="2342107"/>
            <a:ext cx="3200400" cy="3200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11E5D25C-60A9-3C9D-8B9B-B766328B92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517" y="1126131"/>
            <a:ext cx="10966450" cy="1181100"/>
          </a:xfrm>
        </p:spPr>
        <p:txBody>
          <a:bodyPr anchor="ctr"/>
          <a:lstStyle>
            <a:lvl1pPr marL="0" indent="0" algn="ctr">
              <a:buNone/>
              <a:defRPr sz="3600" b="1">
                <a:solidFill>
                  <a:srgbClr val="0055A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9584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oals for To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72F808-C224-46F1-999F-AB54B90BEC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4477" y="2381250"/>
            <a:ext cx="7476460" cy="3780817"/>
          </a:xfrm>
        </p:spPr>
        <p:txBody>
          <a:bodyPr anchor="ctr"/>
          <a:lstStyle>
            <a:lvl1pPr marL="342900" indent="-3429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1pPr>
            <a:lvl2pPr marL="6858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2pPr>
            <a:lvl3pPr marL="11430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3pPr>
            <a:lvl4pPr marL="16002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4pPr>
            <a:lvl5pPr marL="20574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809183E3-5DA0-4D53-BBFF-D9307654F6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22463" y="6348492"/>
            <a:ext cx="1000263" cy="440235"/>
          </a:xfrm>
          <a:prstGeom prst="rect">
            <a:avLst/>
          </a:prstGeom>
        </p:spPr>
      </p:pic>
      <p:pic>
        <p:nvPicPr>
          <p:cNvPr id="6" name="Content Placeholder 4" descr="Shape, icon">
            <a:extLst>
              <a:ext uri="{FF2B5EF4-FFF2-40B4-BE49-F238E27FC236}">
                <a16:creationId xmlns:a16="http://schemas.microsoft.com/office/drawing/2014/main" id="{D6429FE8-249C-BADE-0139-F38455E262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200" y="2815473"/>
            <a:ext cx="4929232" cy="27090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364A220-3A7E-60FF-32E4-6623AFB6CF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517" y="1126131"/>
            <a:ext cx="10966450" cy="1181100"/>
          </a:xfrm>
        </p:spPr>
        <p:txBody>
          <a:bodyPr anchor="ctr"/>
          <a:lstStyle>
            <a:lvl1pPr marL="0" indent="0" algn="ctr">
              <a:buNone/>
              <a:defRPr sz="3600" b="1">
                <a:solidFill>
                  <a:srgbClr val="0055A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28421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lign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AE1CE-6D46-4CA5-9884-FE71EEF90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869" y="1170815"/>
            <a:ext cx="10967513" cy="1325563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101E4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72F808-C224-46F1-999F-AB54B90BEC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869" y="2550765"/>
            <a:ext cx="10967513" cy="4074013"/>
          </a:xfrm>
        </p:spPr>
        <p:txBody>
          <a:bodyPr anchor="t">
            <a:normAutofit/>
          </a:bodyPr>
          <a:lstStyle>
            <a:lvl1pPr marL="342900" indent="-342900">
              <a:buClr>
                <a:srgbClr val="F47D4C"/>
              </a:buClr>
              <a:buFont typeface="Wingdings" panose="05000000000000000000" pitchFamily="2" charset="2"/>
              <a:buChar char="«"/>
              <a:defRPr sz="2800"/>
            </a:lvl1pPr>
            <a:lvl2pPr marL="685800" indent="-228600">
              <a:buClr>
                <a:srgbClr val="F47D4C"/>
              </a:buClr>
              <a:buFont typeface="Wingdings" panose="05000000000000000000" pitchFamily="2" charset="2"/>
              <a:buChar char="«"/>
              <a:defRPr sz="2400"/>
            </a:lvl2pPr>
            <a:lvl3pPr marL="11430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3pPr>
            <a:lvl4pPr marL="16002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4pPr>
            <a:lvl5pPr marL="20574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809183E3-5DA0-4D53-BBFF-D9307654F6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22463" y="6348492"/>
            <a:ext cx="1000263" cy="440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9544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19DC96-33E4-4A8C-9AA4-B49DE3780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600">
                <a:solidFill>
                  <a:srgbClr val="101E4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D4AE47-1E66-43B6-B151-0553C5A7EE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60728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lorful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DA0B6A1-B286-496F-9B48-A85042ED8915}"/>
              </a:ext>
            </a:extLst>
          </p:cNvPr>
          <p:cNvSpPr/>
          <p:nvPr/>
        </p:nvSpPr>
        <p:spPr>
          <a:xfrm>
            <a:off x="838200" y="2287657"/>
            <a:ext cx="10515600" cy="4191972"/>
          </a:xfrm>
          <a:prstGeom prst="roundRect">
            <a:avLst/>
          </a:prstGeom>
          <a:solidFill>
            <a:srgbClr val="EB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libri" panose="020F0502020204030204" pitchFamily="34" charset="0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3E87A9EE-CBCC-4647-B334-FF0C0BB9D5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22463" y="6348492"/>
            <a:ext cx="1000263" cy="440235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8753B5-EF05-44AC-BE13-97B485BB754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53074" y="2651285"/>
            <a:ext cx="9685855" cy="3597547"/>
          </a:xfrm>
        </p:spPr>
        <p:txBody>
          <a:bodyPr anchor="ctr">
            <a:normAutofit/>
          </a:bodyPr>
          <a:lstStyle>
            <a:lvl1pPr marL="339725" indent="-339725">
              <a:buClr>
                <a:srgbClr val="F47D4C"/>
              </a:buClr>
              <a:buFont typeface="Wingdings" panose="05000000000000000000" pitchFamily="2" charset="2"/>
              <a:buChar char="«"/>
              <a:defRPr sz="2800"/>
            </a:lvl1pPr>
            <a:lvl2pPr marL="685800" indent="-228600">
              <a:buClr>
                <a:srgbClr val="F47D4C"/>
              </a:buClr>
              <a:buFont typeface="Wingdings" panose="05000000000000000000" pitchFamily="2" charset="2"/>
              <a:buChar char="«"/>
              <a:defRPr sz="2400"/>
            </a:lvl2pPr>
            <a:lvl3pPr marL="1143000" indent="-228600">
              <a:buClr>
                <a:srgbClr val="F47D4C"/>
              </a:buClr>
              <a:buFont typeface="Wingdings" panose="05000000000000000000" pitchFamily="2" charset="2"/>
              <a:buChar char="«"/>
              <a:defRPr sz="2000"/>
            </a:lvl3pPr>
            <a:lvl4pPr marL="16002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4pPr>
            <a:lvl5pPr marL="2057400" indent="-228600">
              <a:buClr>
                <a:srgbClr val="F47D4C"/>
              </a:buClr>
              <a:buFont typeface="Wingdings" panose="05000000000000000000" pitchFamily="2" charset="2"/>
              <a:buChar char="«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2AF2EBB-55B8-60EF-C138-8E7528BB5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70236"/>
            <a:ext cx="10515600" cy="111741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360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ECDE2CD5-B821-55F4-00B2-FE2A3BD9E458}"/>
              </a:ext>
            </a:extLst>
          </p:cNvPr>
          <p:cNvSpPr/>
          <p:nvPr/>
        </p:nvSpPr>
        <p:spPr>
          <a:xfrm>
            <a:off x="3905692" y="1453414"/>
            <a:ext cx="4933508" cy="4718783"/>
          </a:xfrm>
          <a:prstGeom prst="ellipse">
            <a:avLst/>
          </a:prstGeom>
          <a:solidFill>
            <a:srgbClr val="0055A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libri" panose="020F050202020403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D41C046-BCC2-4490-8609-252037F8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288" y="3074227"/>
            <a:ext cx="4516316" cy="1325563"/>
          </a:xfrm>
        </p:spPr>
        <p:txBody>
          <a:bodyPr>
            <a:normAutofit/>
          </a:bodyPr>
          <a:lstStyle>
            <a:lvl1pPr algn="ctr"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tar: 4 Points 2">
            <a:extLst>
              <a:ext uri="{FF2B5EF4-FFF2-40B4-BE49-F238E27FC236}">
                <a16:creationId xmlns:a16="http://schemas.microsoft.com/office/drawing/2014/main" id="{2D8FDF07-7934-A3DF-70B3-1CD41B7D6F8F}"/>
              </a:ext>
            </a:extLst>
          </p:cNvPr>
          <p:cNvSpPr/>
          <p:nvPr/>
        </p:nvSpPr>
        <p:spPr>
          <a:xfrm>
            <a:off x="8522678" y="5402211"/>
            <a:ext cx="633047" cy="589084"/>
          </a:xfrm>
          <a:prstGeom prst="star4">
            <a:avLst/>
          </a:prstGeom>
          <a:solidFill>
            <a:srgbClr val="008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libri" panose="020F0502020204030204" pitchFamily="34" charset="0"/>
            </a:endParaRPr>
          </a:p>
        </p:txBody>
      </p:sp>
      <p:sp>
        <p:nvSpPr>
          <p:cNvPr id="6" name="Star: 4 Points 5">
            <a:extLst>
              <a:ext uri="{FF2B5EF4-FFF2-40B4-BE49-F238E27FC236}">
                <a16:creationId xmlns:a16="http://schemas.microsoft.com/office/drawing/2014/main" id="{5D3C37CB-8169-1B96-B258-F8A221B34C29}"/>
              </a:ext>
            </a:extLst>
          </p:cNvPr>
          <p:cNvSpPr/>
          <p:nvPr/>
        </p:nvSpPr>
        <p:spPr>
          <a:xfrm>
            <a:off x="8116765" y="5810395"/>
            <a:ext cx="405912" cy="361803"/>
          </a:xfrm>
          <a:prstGeom prst="star4">
            <a:avLst/>
          </a:prstGeom>
          <a:solidFill>
            <a:srgbClr val="008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libri" panose="020F0502020204030204" pitchFamily="34" charset="0"/>
            </a:endParaRPr>
          </a:p>
        </p:txBody>
      </p:sp>
      <p:sp>
        <p:nvSpPr>
          <p:cNvPr id="7" name="Star: 4 Points 6">
            <a:extLst>
              <a:ext uri="{FF2B5EF4-FFF2-40B4-BE49-F238E27FC236}">
                <a16:creationId xmlns:a16="http://schemas.microsoft.com/office/drawing/2014/main" id="{8852FC25-74E9-A468-7927-00464459C7DB}"/>
              </a:ext>
            </a:extLst>
          </p:cNvPr>
          <p:cNvSpPr/>
          <p:nvPr/>
        </p:nvSpPr>
        <p:spPr>
          <a:xfrm>
            <a:off x="4114288" y="1369080"/>
            <a:ext cx="633047" cy="589084"/>
          </a:xfrm>
          <a:prstGeom prst="star4">
            <a:avLst/>
          </a:prstGeom>
          <a:solidFill>
            <a:srgbClr val="008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libri" panose="020F0502020204030204" pitchFamily="34" charset="0"/>
            </a:endParaRPr>
          </a:p>
        </p:txBody>
      </p:sp>
      <p:sp>
        <p:nvSpPr>
          <p:cNvPr id="8" name="Star: 4 Points 7">
            <a:extLst>
              <a:ext uri="{FF2B5EF4-FFF2-40B4-BE49-F238E27FC236}">
                <a16:creationId xmlns:a16="http://schemas.microsoft.com/office/drawing/2014/main" id="{29892BD8-71F4-D001-75F8-274CBCABF604}"/>
              </a:ext>
            </a:extLst>
          </p:cNvPr>
          <p:cNvSpPr/>
          <p:nvPr/>
        </p:nvSpPr>
        <p:spPr>
          <a:xfrm>
            <a:off x="3807034" y="1926474"/>
            <a:ext cx="405912" cy="361803"/>
          </a:xfrm>
          <a:prstGeom prst="star4">
            <a:avLst/>
          </a:prstGeom>
          <a:solidFill>
            <a:srgbClr val="008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libri" panose="020F0502020204030204" pitchFamily="34" charset="0"/>
            </a:endParaRP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4C837A01-3E69-E8B6-282C-FBDDA4C603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22463" y="6348492"/>
            <a:ext cx="1000263" cy="440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873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 4 subtitles and 4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70638"/>
            <a:ext cx="10978994" cy="1153461"/>
          </a:xfrm>
        </p:spPr>
        <p:txBody>
          <a:bodyPr lIns="0"/>
          <a:lstStyle>
            <a:lvl1pPr algn="ctr">
              <a:defRPr>
                <a:solidFill>
                  <a:srgbClr val="0055A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611DAC-A20E-FE2D-2E9D-AE885EE629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2775" y="2402040"/>
            <a:ext cx="3409950" cy="444398"/>
          </a:xfrm>
        </p:spPr>
        <p:txBody>
          <a:bodyPr/>
          <a:lstStyle>
            <a:lvl1pPr marL="0" indent="0" algn="ctr">
              <a:buNone/>
              <a:defRPr b="1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D347511-5122-B053-5909-6A17880FB3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322" y="2861286"/>
            <a:ext cx="3409950" cy="1069259"/>
          </a:xfrm>
        </p:spPr>
        <p:txBody>
          <a:bodyPr anchor="t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F4AD1FE-D1E9-D1AA-9773-9769872A53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7307" y="2401939"/>
            <a:ext cx="3409950" cy="444398"/>
          </a:xfrm>
        </p:spPr>
        <p:txBody>
          <a:bodyPr/>
          <a:lstStyle>
            <a:lvl1pPr marL="0" indent="0" algn="ctr">
              <a:buNone/>
              <a:defRPr b="1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2494E158-6CB4-E3D5-7EFD-36EFACBB4D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64132" y="2846437"/>
            <a:ext cx="3409950" cy="1069259"/>
          </a:xfrm>
        </p:spPr>
        <p:txBody>
          <a:bodyPr anchor="t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D946FFB-C5F8-0883-6E91-431AAC28A0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55399" y="3724326"/>
            <a:ext cx="1998467" cy="1127125"/>
          </a:xfrm>
        </p:spPr>
        <p:txBody>
          <a:bodyPr anchor="ctr"/>
          <a:lstStyle>
            <a:lvl1pPr marL="0" indent="0" algn="ctr">
              <a:buNone/>
              <a:defRPr b="1"/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457200" indent="0" algn="ctr">
              <a:buNone/>
              <a:defRPr/>
            </a:lvl4pPr>
            <a:lvl5pPr marL="628650" indent="0" algn="ctr">
              <a:buNone/>
              <a:defRPr/>
            </a:lvl5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0B488AC7-B3A8-2B15-63B7-6E5B4DC569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631" y="4350661"/>
            <a:ext cx="3409950" cy="444398"/>
          </a:xfrm>
        </p:spPr>
        <p:txBody>
          <a:bodyPr/>
          <a:lstStyle>
            <a:lvl1pPr marL="0" indent="0" algn="ctr">
              <a:buNone/>
              <a:defRPr b="1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13C45A-261F-9749-DC3E-FEC0E9B83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7456" y="4812263"/>
            <a:ext cx="3409950" cy="1603285"/>
          </a:xfrm>
        </p:spPr>
        <p:txBody>
          <a:bodyPr anchor="t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058A9D1A-5CDB-0F43-D858-2B538F6937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307" y="4343186"/>
            <a:ext cx="3409950" cy="444398"/>
          </a:xfrm>
        </p:spPr>
        <p:txBody>
          <a:bodyPr/>
          <a:lstStyle>
            <a:lvl1pPr marL="0" indent="0" algn="ctr">
              <a:buNone/>
              <a:defRPr b="1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BE13E4B-86A7-06CF-0A70-46F7996D12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4132" y="4812162"/>
            <a:ext cx="3409950" cy="1436237"/>
          </a:xfrm>
        </p:spPr>
        <p:txBody>
          <a:bodyPr anchor="t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89109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 4 subtitles and 4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-1265146"/>
            <a:ext cx="10978994" cy="1153461"/>
          </a:xfrm>
        </p:spPr>
        <p:txBody>
          <a:bodyPr lIns="0"/>
          <a:lstStyle>
            <a:lvl1pPr algn="ctr">
              <a:defRPr>
                <a:solidFill>
                  <a:srgbClr val="0055A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D347511-5122-B053-5909-6A17880FB3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99534" y="1384102"/>
            <a:ext cx="2375052" cy="121303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2494E158-6CB4-E3D5-7EFD-36EFACBB4D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6301" y="2855980"/>
            <a:ext cx="2375052" cy="1328104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13C45A-261F-9749-DC3E-FEC0E9B83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26669" y="2347390"/>
            <a:ext cx="3000737" cy="18129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BE13E4B-86A7-06CF-0A70-46F7996D12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8891" y="4568915"/>
            <a:ext cx="2542815" cy="1436237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43D72156-7E39-50A0-1067-90372F0A6D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66668" y="4496132"/>
            <a:ext cx="2767905" cy="1693897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8285ECB-B728-A4F6-6744-932282C30A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954033" y="1344613"/>
            <a:ext cx="10529327" cy="4903787"/>
            <a:chOff x="717548" y="1344613"/>
            <a:chExt cx="10529327" cy="4903787"/>
          </a:xfrm>
        </p:grpSpPr>
        <p:sp>
          <p:nvSpPr>
            <p:cNvPr id="3" name="Title 10">
              <a:extLst>
                <a:ext uri="{FF2B5EF4-FFF2-40B4-BE49-F238E27FC236}">
                  <a16:creationId xmlns:a16="http://schemas.microsoft.com/office/drawing/2014/main" id="{60BE30C1-6FA0-EF19-0EDC-FA676683175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79463" y="1344613"/>
              <a:ext cx="2146300" cy="1239386"/>
            </a:xfrm>
            <a:prstGeom prst="ellipse">
              <a:avLst/>
            </a:prstGeom>
            <a:solidFill>
              <a:srgbClr val="0067B1"/>
            </a:solidFill>
            <a:ln w="15875" cap="flat" cmpd="sng" algn="ctr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 algn="l" defTabSz="914400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3600" b="1" kern="1200" cap="none" spc="1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>
                <a:lnSpc>
                  <a:spcPct val="100000"/>
                </a:lnSpc>
                <a:spcBef>
                  <a:spcPts val="0"/>
                </a:spcBef>
                <a:defRPr/>
              </a:pPr>
              <a:endParaRPr lang="en-US" sz="1800" spc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43D037D2-2F94-7481-9800-AC2BEB5FF23E}"/>
                </a:ext>
              </a:extLst>
            </p:cNvPr>
            <p:cNvSpPr/>
            <p:nvPr userDrawn="1"/>
          </p:nvSpPr>
          <p:spPr>
            <a:xfrm>
              <a:off x="868315" y="2833093"/>
              <a:ext cx="2146552" cy="1350991"/>
            </a:xfrm>
            <a:prstGeom prst="ellipse">
              <a:avLst/>
            </a:prstGeom>
            <a:solidFill>
              <a:srgbClr val="006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A01D161-CDC3-5C13-2D87-6BA2B422DC84}"/>
                </a:ext>
              </a:extLst>
            </p:cNvPr>
            <p:cNvSpPr/>
            <p:nvPr userDrawn="1"/>
          </p:nvSpPr>
          <p:spPr>
            <a:xfrm>
              <a:off x="8379372" y="2347390"/>
              <a:ext cx="2811550" cy="1863257"/>
            </a:xfrm>
            <a:prstGeom prst="ellipse">
              <a:avLst/>
            </a:prstGeom>
            <a:solidFill>
              <a:srgbClr val="006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C22BD15-4DBE-ADEB-FBD3-B1B31E35AAE2}"/>
                </a:ext>
              </a:extLst>
            </p:cNvPr>
            <p:cNvSpPr/>
            <p:nvPr userDrawn="1"/>
          </p:nvSpPr>
          <p:spPr>
            <a:xfrm>
              <a:off x="717548" y="4496132"/>
              <a:ext cx="2542815" cy="1634835"/>
            </a:xfrm>
            <a:prstGeom prst="ellipse">
              <a:avLst/>
            </a:prstGeom>
            <a:solidFill>
              <a:srgbClr val="006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DC0FE48-F917-0531-E6FB-20563AE6660D}"/>
                </a:ext>
              </a:extLst>
            </p:cNvPr>
            <p:cNvSpPr/>
            <p:nvPr userDrawn="1"/>
          </p:nvSpPr>
          <p:spPr>
            <a:xfrm>
              <a:off x="8435325" y="4496132"/>
              <a:ext cx="2811550" cy="1752268"/>
            </a:xfrm>
            <a:prstGeom prst="ellipse">
              <a:avLst/>
            </a:prstGeom>
            <a:solidFill>
              <a:srgbClr val="006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17556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4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Diagram 40">
            <a:extLst>
              <a:ext uri="{FF2B5EF4-FFF2-40B4-BE49-F238E27FC236}">
                <a16:creationId xmlns:a16="http://schemas.microsoft.com/office/drawing/2014/main" id="{8FB46984-5377-C94D-1DC3-7B386670B8D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360419299"/>
              </p:ext>
            </p:extLst>
          </p:nvPr>
        </p:nvGraphicFramePr>
        <p:xfrm>
          <a:off x="199644" y="1547248"/>
          <a:ext cx="8717645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70638"/>
            <a:ext cx="10978994" cy="1153461"/>
          </a:xfrm>
        </p:spPr>
        <p:txBody>
          <a:bodyPr lIns="0"/>
          <a:lstStyle>
            <a:lvl1pPr algn="ctr">
              <a:defRPr>
                <a:solidFill>
                  <a:srgbClr val="0055A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D347511-5122-B053-5909-6A17880FB3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1287" y="2400300"/>
            <a:ext cx="3598561" cy="3836246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21E6583-252F-9134-C801-4B44F597D1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30503" y="2419843"/>
            <a:ext cx="3598561" cy="1141889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0055A5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D89D3F7D-7188-6800-A63A-1D61FB5531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0503" y="3718354"/>
            <a:ext cx="3598561" cy="1141889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0055A5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67785C42-FED9-EE97-E0D7-4DD7BCEB44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18683" y="4977672"/>
            <a:ext cx="3598561" cy="1141889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0055A5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457200" indent="0">
              <a:buNone/>
              <a:defRPr/>
            </a:lvl4pPr>
            <a:lvl5pPr marL="62865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7711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 - Title, space for logo at the top and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90" y="1170638"/>
            <a:ext cx="7889956" cy="1153461"/>
          </a:xfrm>
        </p:spPr>
        <p:txBody>
          <a:bodyPr lIns="0"/>
          <a:lstStyle>
            <a:lvl1pPr algn="ctr">
              <a:defRPr>
                <a:solidFill>
                  <a:srgbClr val="0055A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CE71DD-D39E-430D-92BA-5FB446CDB3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2488" y="2421566"/>
            <a:ext cx="10978994" cy="3826834"/>
          </a:xfrm>
          <a:prstGeom prst="rect">
            <a:avLst/>
          </a:prstGeom>
        </p:spPr>
        <p:txBody>
          <a:bodyPr lIns="274320"/>
          <a:lstStyle>
            <a:lvl1pPr marL="342900" indent="-342900" algn="l">
              <a:buSzPct val="108000"/>
              <a:buFont typeface="Arial" panose="020B0604020202020204" pitchFamily="34" charset="0"/>
              <a:buChar char="•"/>
              <a:defRPr sz="2400"/>
            </a:lvl1pPr>
            <a:lvl2pPr marL="571500" indent="-342900" algn="l">
              <a:buClr>
                <a:srgbClr val="003399"/>
              </a:buClr>
              <a:buSzPct val="80000"/>
              <a:buFont typeface="Courier New" panose="02070309020205020404" pitchFamily="49" charset="0"/>
              <a:buChar char="o"/>
              <a:defRPr sz="2400"/>
            </a:lvl2pPr>
            <a:lvl3pPr marL="800100" indent="-342900" algn="l">
              <a:buClr>
                <a:srgbClr val="001689"/>
              </a:buClr>
              <a:buSzPct val="100000"/>
              <a:buFont typeface="Arial" panose="020B0604020202020204" pitchFamily="34" charset="0"/>
              <a:buChar char="•"/>
              <a:defRPr sz="2400"/>
            </a:lvl3pPr>
            <a:lvl4pPr>
              <a:defRPr sz="2400"/>
            </a:lvl4pPr>
            <a:lvl5pPr marL="914400" indent="-285750" algn="l">
              <a:buClr>
                <a:srgbClr val="003399"/>
              </a:buClr>
              <a:buSzPct val="60000"/>
              <a:buFont typeface="Courier New" panose="02070309020205020404" pitchFamily="49" charset="0"/>
              <a:buChar char="o"/>
              <a:defRPr sz="2400"/>
            </a:lvl5pPr>
            <a:lvl6pPr marL="1143000" indent="-342900" algn="l">
              <a:buClr>
                <a:srgbClr val="003399"/>
              </a:buClr>
              <a:buSzPct val="90000"/>
              <a:buFont typeface="Arial" panose="020B0604020202020204" pitchFamily="34" charset="0"/>
              <a:buChar char="•"/>
              <a:defRPr sz="2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</p:txBody>
      </p:sp>
      <p:sp>
        <p:nvSpPr>
          <p:cNvPr id="4" name="Picture Placeholder 3" descr="Place holder for small graphic placed at the top-right of the title.">
            <a:extLst>
              <a:ext uri="{FF2B5EF4-FFF2-40B4-BE49-F238E27FC236}">
                <a16:creationId xmlns:a16="http://schemas.microsoft.com/office/drawing/2014/main" id="{66E67016-BAD6-636F-268F-C2AAE67360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495432" y="1168400"/>
            <a:ext cx="2095500" cy="1154113"/>
          </a:xfrm>
          <a:ln w="1905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4466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Title, body text, space for graphics on the righ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70638"/>
            <a:ext cx="10978994" cy="1153461"/>
          </a:xfrm>
        </p:spPr>
        <p:txBody>
          <a:bodyPr lIns="0"/>
          <a:lstStyle>
            <a:lvl1pPr algn="ctr">
              <a:defRPr>
                <a:solidFill>
                  <a:srgbClr val="0055A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331945-340A-0FFE-E00E-E953F83F0E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6974" y="2422422"/>
            <a:ext cx="5486400" cy="3825978"/>
          </a:xfrm>
        </p:spPr>
        <p:txBody>
          <a:bodyPr/>
          <a:lstStyle>
            <a:lvl1pPr marL="342900" indent="-342900">
              <a:buSzPct val="108000"/>
              <a:buFont typeface="Wingdings" panose="05000000000000000000" pitchFamily="2" charset="2"/>
              <a:buChar char="«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0"/>
            <a:endParaRPr lang="en-US"/>
          </a:p>
        </p:txBody>
      </p:sp>
      <p:sp>
        <p:nvSpPr>
          <p:cNvPr id="3" name="Picture Placeholder 3" descr="Place holder for graphic placed on the right side of the content box.">
            <a:extLst>
              <a:ext uri="{FF2B5EF4-FFF2-40B4-BE49-F238E27FC236}">
                <a16:creationId xmlns:a16="http://schemas.microsoft.com/office/drawing/2014/main" id="{61709074-C458-EBDC-E8E7-ED3647E2FF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35897" y="2567348"/>
            <a:ext cx="4355586" cy="2742304"/>
          </a:xfrm>
          <a:ln w="127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395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- Title, body text, space for graphics on the righ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70638"/>
            <a:ext cx="10978994" cy="1153461"/>
          </a:xfrm>
        </p:spPr>
        <p:txBody>
          <a:bodyPr lIns="0"/>
          <a:lstStyle>
            <a:lvl1pPr algn="ctr">
              <a:defRPr>
                <a:solidFill>
                  <a:srgbClr val="0055A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331945-340A-0FFE-E00E-E953F83F0E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6974" y="2422422"/>
            <a:ext cx="5486400" cy="3825978"/>
          </a:xfrm>
        </p:spPr>
        <p:txBody>
          <a:bodyPr/>
          <a:lstStyle>
            <a:lvl1pPr marL="342900" indent="-342900">
              <a:buSzPct val="108000"/>
              <a:buFont typeface="Wingdings" panose="05000000000000000000" pitchFamily="2" charset="2"/>
              <a:buChar char="«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0"/>
            <a:endParaRPr lang="en-US"/>
          </a:p>
        </p:txBody>
      </p:sp>
      <p:sp>
        <p:nvSpPr>
          <p:cNvPr id="3" name="Picture Placeholder 3" descr="Place holder for graphic placed on the right side of the content box.">
            <a:extLst>
              <a:ext uri="{FF2B5EF4-FFF2-40B4-BE49-F238E27FC236}">
                <a16:creationId xmlns:a16="http://schemas.microsoft.com/office/drawing/2014/main" id="{61709074-C458-EBDC-E8E7-ED3647E2FF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835847" y="2494885"/>
            <a:ext cx="4355586" cy="3681052"/>
          </a:xfrm>
          <a:prstGeom prst="roundRect">
            <a:avLst/>
          </a:prstGeom>
          <a:ln w="127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8697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- Title, body text, space for graphics on the righ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170638"/>
            <a:ext cx="10978994" cy="1153461"/>
          </a:xfrm>
        </p:spPr>
        <p:txBody>
          <a:bodyPr lIns="0"/>
          <a:lstStyle>
            <a:lvl1pPr algn="ctr">
              <a:defRPr>
                <a:solidFill>
                  <a:srgbClr val="0055A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331945-340A-0FFE-E00E-E953F83F0E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70036" y="2494885"/>
            <a:ext cx="5486400" cy="3825978"/>
          </a:xfrm>
        </p:spPr>
        <p:txBody>
          <a:bodyPr/>
          <a:lstStyle>
            <a:lvl1pPr marL="342900" indent="-342900">
              <a:buSzPct val="108000"/>
              <a:buFont typeface="Wingdings" panose="05000000000000000000" pitchFamily="2" charset="2"/>
              <a:buChar char="«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0"/>
            <a:endParaRPr lang="en-US"/>
          </a:p>
        </p:txBody>
      </p:sp>
      <p:sp>
        <p:nvSpPr>
          <p:cNvPr id="3" name="Picture Placeholder 3" descr="Place holder for graphic placed on the right side of the content box.">
            <a:extLst>
              <a:ext uri="{FF2B5EF4-FFF2-40B4-BE49-F238E27FC236}">
                <a16:creationId xmlns:a16="http://schemas.microsoft.com/office/drawing/2014/main" id="{61709074-C458-EBDC-E8E7-ED3647E2FF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5097" y="2494885"/>
            <a:ext cx="4355586" cy="3681052"/>
          </a:xfrm>
          <a:prstGeom prst="roundRect">
            <a:avLst/>
          </a:prstGeom>
          <a:ln w="127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8613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2949" y="1174805"/>
            <a:ext cx="10972800" cy="1143093"/>
          </a:xfrm>
          <a:prstGeom prst="rect">
            <a:avLst/>
          </a:prstGeom>
        </p:spPr>
        <p:txBody>
          <a:bodyPr vert="horz" lIns="0" tIns="18288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2949" y="2423160"/>
            <a:ext cx="10972799" cy="3825240"/>
          </a:xfrm>
          <a:prstGeom prst="rect">
            <a:avLst/>
          </a:prstGeom>
        </p:spPr>
        <p:txBody>
          <a:bodyPr vert="horz" lIns="2743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</p:txBody>
      </p:sp>
      <p:sp>
        <p:nvSpPr>
          <p:cNvPr id="7" name="Arrow: Right 6" hidden="1">
            <a:extLst>
              <a:ext uri="{FF2B5EF4-FFF2-40B4-BE49-F238E27FC236}">
                <a16:creationId xmlns:a16="http://schemas.microsoft.com/office/drawing/2014/main" id="{C8196219-F9FA-43AF-8C08-4862AF6214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12286311" y="3724"/>
            <a:ext cx="766751" cy="1133856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4" name="Arrow: Right 3" hidden="1">
            <a:extLst>
              <a:ext uri="{FF2B5EF4-FFF2-40B4-BE49-F238E27FC236}">
                <a16:creationId xmlns:a16="http://schemas.microsoft.com/office/drawing/2014/main" id="{19C48AA6-DA71-507A-44EF-8C9EDDF86B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856873" y="-933"/>
            <a:ext cx="766751" cy="1133856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0461DD-C021-61DE-80E7-67AA7CE4F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1548677" y="6528872"/>
            <a:ext cx="606252" cy="30777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fld id="{E87E798C-1626-44D4-9BFF-3156840017C8}" type="slidenum">
              <a:rPr lang="en-US" sz="1400" b="0" smtClean="0">
                <a:latin typeface="Calibri" panose="020F0502020204030204" pitchFamily="34" charset="0"/>
                <a:cs typeface="Calibri" panose="020F0502020204030204" pitchFamily="34" charset="0"/>
              </a:rPr>
              <a:pPr algn="ctr"/>
              <a:t>‹#›</a:t>
            </a:fld>
            <a:endParaRPr lang="en-US" sz="1400" b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Arrow: Right 10" hidden="1">
            <a:extLst>
              <a:ext uri="{FF2B5EF4-FFF2-40B4-BE49-F238E27FC236}">
                <a16:creationId xmlns:a16="http://schemas.microsoft.com/office/drawing/2014/main" id="{B21C9A58-0EF2-7E6E-80E3-9AFB19B3B3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12278692" y="5718810"/>
            <a:ext cx="769258" cy="1133856"/>
          </a:xfrm>
          <a:prstGeom prst="right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2" name="Arrow: Right 11" hidden="1">
            <a:extLst>
              <a:ext uri="{FF2B5EF4-FFF2-40B4-BE49-F238E27FC236}">
                <a16:creationId xmlns:a16="http://schemas.microsoft.com/office/drawing/2014/main" id="{E47578A1-7AC3-35AD-EC72-8F7395DE48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864492" y="5714153"/>
            <a:ext cx="769258" cy="1133856"/>
          </a:xfrm>
          <a:prstGeom prst="right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6" name="shape 1">
            <a:extLst>
              <a:ext uri="{FF2B5EF4-FFF2-40B4-BE49-F238E27FC236}">
                <a16:creationId xmlns:a16="http://schemas.microsoft.com/office/drawing/2014/main" id="{9042E985-0DFD-849A-C983-CEB89457DF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30326" y="1298015"/>
            <a:ext cx="125730" cy="1102285"/>
          </a:xfrm>
          <a:prstGeom prst="rect">
            <a:avLst/>
          </a:prstGeom>
          <a:solidFill>
            <a:srgbClr val="5DCD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9" name="shape 1">
            <a:extLst>
              <a:ext uri="{FF2B5EF4-FFF2-40B4-BE49-F238E27FC236}">
                <a16:creationId xmlns:a16="http://schemas.microsoft.com/office/drawing/2014/main" id="{AB674C9E-771B-9339-B1C8-FA25D47296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30326" y="2392906"/>
            <a:ext cx="125730" cy="3855493"/>
          </a:xfrm>
          <a:prstGeom prst="rect">
            <a:avLst/>
          </a:prstGeom>
          <a:solidFill>
            <a:srgbClr val="0083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FFFFFF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3486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6" r:id="rId2"/>
    <p:sldLayoutId id="2147483662" r:id="rId3"/>
    <p:sldLayoutId id="2147483689" r:id="rId4"/>
    <p:sldLayoutId id="2147483688" r:id="rId5"/>
    <p:sldLayoutId id="2147483663" r:id="rId6"/>
    <p:sldLayoutId id="2147483664" r:id="rId7"/>
    <p:sldLayoutId id="2147483682" r:id="rId8"/>
    <p:sldLayoutId id="2147483683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87" r:id="rId15"/>
    <p:sldLayoutId id="2147483670" r:id="rId16"/>
    <p:sldLayoutId id="2147483671" r:id="rId17"/>
    <p:sldLayoutId id="2147483672" r:id="rId18"/>
    <p:sldLayoutId id="2147483673" r:id="rId19"/>
    <p:sldLayoutId id="2147483674" r:id="rId20"/>
    <p:sldLayoutId id="2147483675" r:id="rId21"/>
    <p:sldLayoutId id="2147483676" r:id="rId22"/>
    <p:sldLayoutId id="2147483677" r:id="rId23"/>
    <p:sldLayoutId id="2147483680" r:id="rId24"/>
    <p:sldLayoutId id="2147483681" r:id="rId25"/>
    <p:sldLayoutId id="2147483684" r:id="rId26"/>
    <p:sldLayoutId id="2147483685" r:id="rId27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 cap="none" spc="100" baseline="0">
          <a:solidFill>
            <a:schemeClr val="tx1">
              <a:lumMod val="95000"/>
              <a:lumOff val="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20000"/>
        <a:buFont typeface="Wingdings" panose="05000000000000000000" pitchFamily="2" charset="2"/>
        <a:buChar char="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71500" indent="-3429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55A5"/>
        </a:buClr>
        <a:buSzPct val="80000"/>
        <a:buFont typeface="Wingdings" panose="05000000000000000000" pitchFamily="2" charset="2"/>
        <a:buChar char=""/>
        <a:tabLst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800100" indent="-3429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 typeface="Wingdings" panose="05000000000000000000" pitchFamily="2" charset="2"/>
        <a:buChar char="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742950" indent="-28575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70000"/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91440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60000"/>
        <a:buFont typeface="Wingdings" panose="05000000000000000000" pitchFamily="2" charset="2"/>
        <a:buChar char="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147763" indent="-3476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90000"/>
        <a:buFont typeface="Wingdings" panose="05000000000000000000" pitchFamily="2" charset="2"/>
        <a:buChar char=""/>
        <a:tabLst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6pPr>
      <a:lvl7pPr marL="1031875" indent="-234950" algn="l" defTabSz="914400" rtl="0" eaLnBrk="1" latinLnBrk="0" hangingPunct="1">
        <a:lnSpc>
          <a:spcPct val="90000"/>
        </a:lnSpc>
        <a:spcBef>
          <a:spcPts val="200"/>
        </a:spcBef>
        <a:spcAft>
          <a:spcPts val="1200"/>
        </a:spcAft>
        <a:buClr>
          <a:srgbClr val="101820"/>
        </a:buClr>
        <a:buFont typeface="Wingdings 3" pitchFamily="18" charset="2"/>
        <a:buChar char="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0">
          <p15:clr>
            <a:srgbClr val="F26B43"/>
          </p15:clr>
        </p15:guide>
        <p15:guide id="2" pos="552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4320">
          <p15:clr>
            <a:srgbClr val="F26B43"/>
          </p15:clr>
        </p15:guide>
        <p15:guide id="5" orient="horz" pos="3936">
          <p15:clr>
            <a:srgbClr val="F26B43"/>
          </p15:clr>
        </p15:guide>
        <p15:guide id="6" orient="horz" pos="1464">
          <p15:clr>
            <a:srgbClr val="F26B43"/>
          </p15:clr>
        </p15:guide>
        <p15:guide id="7" orient="horz" pos="1512">
          <p15:clr>
            <a:srgbClr val="F26B43"/>
          </p15:clr>
        </p15:guide>
        <p15:guide id="8" pos="384">
          <p15:clr>
            <a:srgbClr val="F26B43"/>
          </p15:clr>
        </p15:guide>
        <p15:guide id="9" pos="3840">
          <p15:clr>
            <a:srgbClr val="F26B43"/>
          </p15:clr>
        </p15:guide>
        <p15:guide id="10" pos="72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notesSlide" Target="../notesSlides/notesSlide15.xml"/><Relationship Id="rId26" Type="http://schemas.openxmlformats.org/officeDocument/2006/relationships/image" Target="../media/image28.svg"/><Relationship Id="rId3" Type="http://schemas.openxmlformats.org/officeDocument/2006/relationships/tags" Target="../tags/tag3.xml"/><Relationship Id="rId21" Type="http://schemas.openxmlformats.org/officeDocument/2006/relationships/image" Target="../media/image23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3.xml"/><Relationship Id="rId25" Type="http://schemas.openxmlformats.org/officeDocument/2006/relationships/image" Target="../media/image27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22.sv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26.sv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25.png"/><Relationship Id="rId10" Type="http://schemas.openxmlformats.org/officeDocument/2006/relationships/tags" Target="../tags/tag10.xml"/><Relationship Id="rId19" Type="http://schemas.openxmlformats.org/officeDocument/2006/relationships/image" Target="../media/image21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24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1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5" Type="http://schemas.microsoft.com/office/2007/relationships/hdphoto" Target="../media/hdphoto1.wdp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cdn.jwplayer.com/previews/oR6Rkpap-CeEBvWnE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4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cdn.jwplayer.com/previews/YzSLQ7nD-CeEBvWnE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5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7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2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30.png"/><Relationship Id="rId7" Type="http://schemas.openxmlformats.org/officeDocument/2006/relationships/image" Target="../media/image45.sv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png"/><Relationship Id="rId5" Type="http://schemas.openxmlformats.org/officeDocument/2006/relationships/image" Target="../media/image43.jpeg"/><Relationship Id="rId4" Type="http://schemas.microsoft.com/office/2007/relationships/hdphoto" Target="../media/hdphoto1.wd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starautismsupport.com/newsletter-sign-0" TargetMode="External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9.xml"/><Relationship Id="rId6" Type="http://schemas.openxmlformats.org/officeDocument/2006/relationships/hyperlink" Target="mailto:information@starautismsupport.com" TargetMode="External"/><Relationship Id="rId5" Type="http://schemas.openxmlformats.org/officeDocument/2006/relationships/hyperlink" Target="http://www.starautismsupport.com/" TargetMode="External"/><Relationship Id="rId4" Type="http://schemas.openxmlformats.org/officeDocument/2006/relationships/image" Target="../media/image87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brainspring.com/content/blog-files/Scarboroughs-Reading-Rope-rgb-G1-102-UNI-032422.jpg" TargetMode="Externa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doi.org/10.1007/s10803-014-2351-z" TargetMode="External"/><Relationship Id="rId4" Type="http://schemas.openxmlformats.org/officeDocument/2006/relationships/hyperlink" Target="https://teachingstrategies.com/solution/science-of-reading/" TargetMode="Externa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D90F6270-88F6-AA12-22F1-857B250B2A4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dirty="0"/>
              <a:t>STAR Autism Support: Launching Every Learner to Reading Success!</a:t>
            </a:r>
          </a:p>
        </p:txBody>
      </p:sp>
      <p:pic>
        <p:nvPicPr>
          <p:cNvPr id="12" name="Picture Placeholder 11" descr="Charting the Cs logo with black and blue text">
            <a:extLst>
              <a:ext uri="{FF2B5EF4-FFF2-40B4-BE49-F238E27FC236}">
                <a16:creationId xmlns:a16="http://schemas.microsoft.com/office/drawing/2014/main" id="{92A34719-8731-EF29-90CB-7117B21E5CC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t="337" b="-62991"/>
          <a:stretch/>
        </p:blipFill>
        <p:spPr>
          <a:xfrm>
            <a:off x="177782" y="1227906"/>
            <a:ext cx="2852755" cy="1055372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AB676B-4FF9-88B4-C9B9-9280BAF232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2075" y="2891912"/>
            <a:ext cx="2938463" cy="334398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arting the Cs Conference 2025:</a:t>
            </a:r>
          </a:p>
          <a:p>
            <a:pPr>
              <a:spcBef>
                <a:spcPts val="0"/>
              </a:spcBef>
              <a:spcAft>
                <a:spcPts val="800"/>
              </a:spcAft>
            </a:pPr>
            <a:r>
              <a:rPr lang="en-U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To Literacy and Beyond</a:t>
            </a:r>
          </a:p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operation </a:t>
            </a:r>
            <a:b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munication </a:t>
            </a:r>
            <a:b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laboration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FDB43DFB-DDC8-1D03-0FD7-3B53D918D6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14157" y="3180472"/>
            <a:ext cx="2681844" cy="2534528"/>
          </a:xfrm>
        </p:spPr>
        <p:txBody>
          <a:bodyPr/>
          <a:lstStyle/>
          <a:p>
            <a:pPr algn="l"/>
            <a:r>
              <a:rPr lang="en-US" dirty="0"/>
              <a:t>April 29th at 2 PM</a:t>
            </a:r>
          </a:p>
          <a:p>
            <a:pPr algn="l"/>
            <a:r>
              <a:rPr lang="en-US" dirty="0"/>
              <a:t>Kaleen Schultz</a:t>
            </a:r>
          </a:p>
        </p:txBody>
      </p:sp>
      <p:pic>
        <p:nvPicPr>
          <p:cNvPr id="3" name="Graphic 2" descr="Illustration of a student sitting in a beanbag chair reading a book in front of a bookshelf">
            <a:extLst>
              <a:ext uri="{FF2B5EF4-FFF2-40B4-BE49-F238E27FC236}">
                <a16:creationId xmlns:a16="http://schemas.microsoft.com/office/drawing/2014/main" id="{09CACBB1-CEBE-EF6E-8514-8701A0C1B4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27520" y="3063670"/>
            <a:ext cx="3343984" cy="3343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5321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2987FA-C7F4-4D96-C670-47912A6ADB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Using a Comprehensive Curriculum </a:t>
            </a:r>
          </a:p>
        </p:txBody>
      </p:sp>
    </p:spTree>
    <p:extLst>
      <p:ext uri="{BB962C8B-B14F-4D97-AF65-F5344CB8AC3E}">
        <p14:creationId xmlns:p14="http://schemas.microsoft.com/office/powerpoint/2010/main" val="1859933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24C4DFD-98A4-4AE9-9806-C69F7AB97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240309"/>
            <a:ext cx="10978994" cy="972202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Comprehensive Systems to Teach Foundational Skills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0EF4B2-F6C3-B039-CE10-F406519DF1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0656" y="2400300"/>
            <a:ext cx="3598561" cy="3836246"/>
          </a:xfrm>
        </p:spPr>
        <p:txBody>
          <a:bodyPr/>
          <a:lstStyle/>
          <a:p>
            <a:pPr lvl="0"/>
            <a:r>
              <a:rPr lang="en-US" dirty="0"/>
              <a:t>Assessment and progress monitoring</a:t>
            </a:r>
          </a:p>
          <a:p>
            <a:pPr lvl="0"/>
            <a:r>
              <a:rPr lang="en-US" dirty="0"/>
              <a:t>Data collection</a:t>
            </a:r>
          </a:p>
          <a:p>
            <a:pPr lvl="0"/>
            <a:r>
              <a:rPr lang="en-US" dirty="0"/>
              <a:t>Detailed lesson plans in core curricular areas</a:t>
            </a:r>
          </a:p>
          <a:p>
            <a:pPr lvl="0"/>
            <a:r>
              <a:rPr lang="en-US" dirty="0"/>
              <a:t>Differentiated learning for 1:1 and group instruction</a:t>
            </a:r>
          </a:p>
          <a:p>
            <a:pPr lvl="0"/>
            <a:r>
              <a:rPr lang="en-US" dirty="0"/>
              <a:t>Digital tools</a:t>
            </a:r>
          </a:p>
          <a:p>
            <a:pPr lvl="0"/>
            <a:r>
              <a:rPr lang="en-US" dirty="0"/>
              <a:t>Strengths-bas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FE79A28-4090-F8CD-A080-7C4AD88F22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>
              <a:lnSpc>
                <a:spcPts val="2600"/>
              </a:lnSpc>
              <a:spcAft>
                <a:spcPts val="0"/>
              </a:spcAft>
            </a:pPr>
            <a:r>
              <a:rPr lang="en-US" dirty="0">
                <a:solidFill>
                  <a:srgbClr val="0067B1"/>
                </a:solidFill>
              </a:rPr>
              <a:t>Preschool and Elementary: STAR Progra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CFDF62-043E-DCBB-161E-65236189B2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>
              <a:lnSpc>
                <a:spcPts val="2600"/>
              </a:lnSpc>
              <a:spcAft>
                <a:spcPts val="0"/>
              </a:spcAft>
            </a:pPr>
            <a:r>
              <a:rPr lang="en-US" dirty="0">
                <a:solidFill>
                  <a:srgbClr val="0067B1"/>
                </a:solidFill>
              </a:rPr>
              <a:t>Themes First! </a:t>
            </a:r>
          </a:p>
          <a:p>
            <a:pPr lvl="0">
              <a:lnSpc>
                <a:spcPts val="2600"/>
              </a:lnSpc>
              <a:spcAft>
                <a:spcPts val="0"/>
              </a:spcAft>
            </a:pPr>
            <a:r>
              <a:rPr lang="en-US" dirty="0">
                <a:solidFill>
                  <a:srgbClr val="0067B1"/>
                </a:solidFill>
              </a:rPr>
              <a:t>Academic Teaching Unit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1B04DB0-0894-0467-7270-87109020D6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lnSpc>
                <a:spcPts val="2600"/>
              </a:lnSpc>
              <a:spcAft>
                <a:spcPts val="0"/>
              </a:spcAft>
            </a:pPr>
            <a:r>
              <a:rPr lang="en-US" dirty="0">
                <a:solidFill>
                  <a:srgbClr val="0067B1"/>
                </a:solidFill>
              </a:rPr>
              <a:t>Secondary: Links </a:t>
            </a:r>
          </a:p>
        </p:txBody>
      </p:sp>
      <p:pic>
        <p:nvPicPr>
          <p:cNvPr id="3" name="Content Placeholder 2" descr="Image of the STAR kits">
            <a:extLst>
              <a:ext uri="{FF2B5EF4-FFF2-40B4-BE49-F238E27FC236}">
                <a16:creationId xmlns:a16="http://schemas.microsoft.com/office/drawing/2014/main" id="{1D7B1253-E351-4202-A2B5-06661CB6DB3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09" b="9392"/>
          <a:stretch/>
        </p:blipFill>
        <p:spPr>
          <a:xfrm>
            <a:off x="9260360" y="2361574"/>
            <a:ext cx="2150353" cy="1036246"/>
          </a:xfrm>
          <a:prstGeom prst="rect">
            <a:avLst/>
          </a:prstGeom>
          <a:solidFill>
            <a:srgbClr val="FFFFFF">
              <a:shade val="85000"/>
            </a:srgbClr>
          </a:solidFill>
          <a:ln w="9525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" name="Picture 1" descr="Screenshots of images showing content from Themes First! and Academic Teaching Units">
            <a:extLst>
              <a:ext uri="{FF2B5EF4-FFF2-40B4-BE49-F238E27FC236}">
                <a16:creationId xmlns:a16="http://schemas.microsoft.com/office/drawing/2014/main" id="{892CABF0-03FB-C1D3-D10C-BABFCC275FA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999"/>
          <a:stretch/>
        </p:blipFill>
        <p:spPr>
          <a:xfrm>
            <a:off x="8853388" y="3526488"/>
            <a:ext cx="1869838" cy="114188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4" name="Picture 3" descr="Screenshots of images showing content from Themes First! and Academic Teaching Units">
            <a:extLst>
              <a:ext uri="{FF2B5EF4-FFF2-40B4-BE49-F238E27FC236}">
                <a16:creationId xmlns:a16="http://schemas.microsoft.com/office/drawing/2014/main" id="{841EB7D6-12D5-E6AB-AE7D-0098D5F05E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10411800" y="4133389"/>
            <a:ext cx="559842" cy="1723384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6" name="Picture 5" descr="Screenshot of the Links logo">
            <a:extLst>
              <a:ext uri="{FF2B5EF4-FFF2-40B4-BE49-F238E27FC236}">
                <a16:creationId xmlns:a16="http://schemas.microsoft.com/office/drawing/2014/main" id="{A9E6A913-68CB-C0B1-CCBF-64952CB920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27886" y="5482017"/>
            <a:ext cx="2057400" cy="7524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655904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89" y="1301269"/>
            <a:ext cx="10978994" cy="831223"/>
          </a:xfrm>
        </p:spPr>
        <p:txBody>
          <a:bodyPr>
            <a:normAutofit/>
          </a:bodyPr>
          <a:lstStyle/>
          <a:p>
            <a:pPr algn="ctr"/>
            <a:r>
              <a:rPr lang="en-US" sz="3600" dirty="0"/>
              <a:t>Instructional Strategies for Students with Autis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7B0C72-B374-A0C5-FEE0-03569F9F1E7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2488" y="2132492"/>
            <a:ext cx="5571236" cy="4099344"/>
          </a:xfrm>
        </p:spPr>
        <p:txBody>
          <a:bodyPr/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«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Behavioral Interventions (ABA method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«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Pivotal Response Training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«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Visual Schedules/Visual Support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«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anguage Training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«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Self-Management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«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Task Analysis Instruct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«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lternative Communication Devic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«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Modeling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«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Naturalistic Teaching Strategies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«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Peer Mediated Instruction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«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Parent Training  </a:t>
            </a:r>
          </a:p>
        </p:txBody>
      </p:sp>
      <p:pic>
        <p:nvPicPr>
          <p:cNvPr id="1028" name="Picture 4" descr="Screenshots from the National Professional Development Center publications"/>
          <p:cNvPicPr>
            <a:picLocks noGrp="1" noChangeAspect="1" noChangeArrowheads="1"/>
          </p:cNvPicPr>
          <p:nvPr>
            <p:ph type="pic" sz="quarter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58" b="17358"/>
          <a:stretch/>
        </p:blipFill>
        <p:spPr bwMode="auto">
          <a:xfrm>
            <a:off x="7327165" y="2208776"/>
            <a:ext cx="3488881" cy="3220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creenshots from the National Professional Development Center publications">
            <a:extLst>
              <a:ext uri="{FF2B5EF4-FFF2-40B4-BE49-F238E27FC236}">
                <a16:creationId xmlns:a16="http://schemas.microsoft.com/office/drawing/2014/main" id="{7CFC4A86-DC61-467B-B159-4560A6CDF3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6511" y="5495158"/>
            <a:ext cx="3333168" cy="43643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D25F40F-5994-9822-5C76-7A321D0E21C7}"/>
              </a:ext>
            </a:extLst>
          </p:cNvPr>
          <p:cNvSpPr txBox="1"/>
          <p:nvPr/>
        </p:nvSpPr>
        <p:spPr>
          <a:xfrm>
            <a:off x="6211354" y="6012126"/>
            <a:ext cx="538012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Calibri"/>
                <a:ea typeface="Calibri"/>
                <a:cs typeface="Calibri"/>
              </a:rPr>
              <a:t>(The National Professional Development Center, 2015)</a:t>
            </a:r>
          </a:p>
        </p:txBody>
      </p:sp>
    </p:spTree>
    <p:extLst>
      <p:ext uri="{BB962C8B-B14F-4D97-AF65-F5344CB8AC3E}">
        <p14:creationId xmlns:p14="http://schemas.microsoft.com/office/powerpoint/2010/main" val="205017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2FAC96-275C-A039-4AFF-8A600950B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170638"/>
            <a:ext cx="11244231" cy="1153461"/>
          </a:xfrm>
        </p:spPr>
        <p:txBody>
          <a:bodyPr/>
          <a:lstStyle/>
          <a:p>
            <a:pPr algn="ctr"/>
            <a:r>
              <a:rPr lang="en-US" sz="3600" dirty="0"/>
              <a:t>Instructional Strategies for Students </a:t>
            </a:r>
            <a:br>
              <a:rPr lang="en-US" sz="3600" dirty="0"/>
            </a:br>
            <a:r>
              <a:rPr lang="en-US" sz="3600" dirty="0"/>
              <a:t>with High Support Need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0411FB-3794-4EFD-8A5B-AD86F781CA2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2489" y="2421566"/>
            <a:ext cx="5011072" cy="3903034"/>
          </a:xfrm>
        </p:spPr>
        <p:txBody>
          <a:bodyPr>
            <a:normAutofit/>
          </a:bodyPr>
          <a:lstStyle/>
          <a:p>
            <a:pPr marL="396875" indent="-396875"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en-US" dirty="0"/>
              <a:t>Systematic Instruction Based on the Principles of ABA</a:t>
            </a:r>
          </a:p>
          <a:p>
            <a:pPr marL="396875" indent="-396875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en-US" dirty="0"/>
              <a:t>Task Analysis</a:t>
            </a:r>
          </a:p>
          <a:p>
            <a:pPr marL="396875" indent="-396875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en-US" dirty="0"/>
              <a:t>Data Collection </a:t>
            </a:r>
          </a:p>
          <a:p>
            <a:pPr marL="396875" indent="-396875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en-US" dirty="0"/>
              <a:t>Prompting and Fading Procedures</a:t>
            </a:r>
          </a:p>
          <a:p>
            <a:pPr marL="396875" indent="-396875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en-US" dirty="0"/>
              <a:t>Reinforcement</a:t>
            </a:r>
          </a:p>
          <a:p>
            <a:pPr marL="396875" indent="-396875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en-US" dirty="0"/>
              <a:t>Generalization</a:t>
            </a:r>
          </a:p>
          <a:p>
            <a:pPr marL="396875" indent="-396875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en-US" dirty="0"/>
              <a:t>Self-Directed Learning</a:t>
            </a:r>
          </a:p>
        </p:txBody>
      </p:sp>
      <p:pic>
        <p:nvPicPr>
          <p:cNvPr id="7" name="Picture 6" descr="Screenshot from Evidence-Based Practices for Students with Severe Disabilities Publication">
            <a:extLst>
              <a:ext uri="{FF2B5EF4-FFF2-40B4-BE49-F238E27FC236}">
                <a16:creationId xmlns:a16="http://schemas.microsoft.com/office/drawing/2014/main" id="{A048A17F-5838-476B-9C9D-F267864853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3879" y="4585458"/>
            <a:ext cx="2743200" cy="84292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 descr="Screenshot from Evidence-Based Practices for Students with Severe Disabilities Publication">
            <a:extLst>
              <a:ext uri="{FF2B5EF4-FFF2-40B4-BE49-F238E27FC236}">
                <a16:creationId xmlns:a16="http://schemas.microsoft.com/office/drawing/2014/main" id="{EA4BA04E-889A-44C3-BC6B-C50CA6CDB9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7397" y="2419349"/>
            <a:ext cx="2375188" cy="30090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08487B0-3B8A-EE2F-E9E4-038EFB272B1B}"/>
              </a:ext>
            </a:extLst>
          </p:cNvPr>
          <p:cNvSpPr txBox="1"/>
          <p:nvPr/>
        </p:nvSpPr>
        <p:spPr>
          <a:xfrm>
            <a:off x="7455797" y="5597946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Calibri"/>
                <a:ea typeface="Calibri"/>
                <a:cs typeface="Calibri"/>
              </a:rPr>
              <a:t>(</a:t>
            </a:r>
            <a:r>
              <a:rPr lang="en-US" dirty="0" err="1">
                <a:latin typeface="Calibri"/>
                <a:ea typeface="Calibri"/>
                <a:cs typeface="Calibri"/>
              </a:rPr>
              <a:t>Ceedar</a:t>
            </a:r>
            <a:r>
              <a:rPr lang="en-US" dirty="0">
                <a:latin typeface="Calibri"/>
                <a:ea typeface="Calibri"/>
                <a:cs typeface="Calibri"/>
              </a:rPr>
              <a:t> Center, 2014)</a:t>
            </a:r>
          </a:p>
        </p:txBody>
      </p:sp>
    </p:spTree>
    <p:extLst>
      <p:ext uri="{BB962C8B-B14F-4D97-AF65-F5344CB8AC3E}">
        <p14:creationId xmlns:p14="http://schemas.microsoft.com/office/powerpoint/2010/main" val="73828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D800E-9F2B-09CD-4A16-C754F7124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ve Pillars of Reading Instruction</a:t>
            </a:r>
          </a:p>
        </p:txBody>
      </p:sp>
      <p:pic>
        <p:nvPicPr>
          <p:cNvPr id="9" name="Picture 8" descr="A colorful wooden structure with text showing the five pillars of literacy (phonemic awareness, phonics and word recognition, vocabulary, fluency, and comprehension).">
            <a:extLst>
              <a:ext uri="{FF2B5EF4-FFF2-40B4-BE49-F238E27FC236}">
                <a16:creationId xmlns:a16="http://schemas.microsoft.com/office/drawing/2014/main" id="{87E95C1E-1745-ABD6-0B4C-5F14C743AEE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946" r="952" b="2391"/>
          <a:stretch/>
        </p:blipFill>
        <p:spPr>
          <a:xfrm>
            <a:off x="425450" y="2555876"/>
            <a:ext cx="5627591" cy="31208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A873DDB-0ADF-6BB6-EC63-0D066C3A9F24}"/>
              </a:ext>
            </a:extLst>
          </p:cNvPr>
          <p:cNvSpPr txBox="1"/>
          <p:nvPr/>
        </p:nvSpPr>
        <p:spPr>
          <a:xfrm>
            <a:off x="3327400" y="567690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/>
                <a:ea typeface="Calibri"/>
                <a:cs typeface="Calibri"/>
              </a:rPr>
              <a:t>(Teaching Strategies, 2025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1DB9DA-A4A4-BBEE-911D-E0BEA6E70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8053" y="2555876"/>
            <a:ext cx="5486400" cy="3531942"/>
          </a:xfrm>
        </p:spPr>
        <p:txBody>
          <a:bodyPr/>
          <a:lstStyle/>
          <a:p>
            <a:pPr marL="342900" marR="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US" sz="2000" b="1" kern="100" dirty="0">
                <a:effectLst/>
                <a:ea typeface="Aptos" panose="020B0004020202020204" pitchFamily="34" charset="0"/>
              </a:rPr>
              <a:t>Phonemic Awareness</a:t>
            </a:r>
            <a:r>
              <a:rPr lang="en-US" sz="2000" kern="100" dirty="0">
                <a:effectLst/>
                <a:ea typeface="Aptos" panose="020B0004020202020204" pitchFamily="34" charset="0"/>
              </a:rPr>
              <a:t>: individual sounds</a:t>
            </a:r>
          </a:p>
          <a:p>
            <a:pPr marL="342900" marR="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US" sz="2000" b="1" kern="100" dirty="0">
                <a:effectLst/>
                <a:ea typeface="Aptos" panose="020B0004020202020204" pitchFamily="34" charset="0"/>
              </a:rPr>
              <a:t>Phonics</a:t>
            </a:r>
            <a:r>
              <a:rPr lang="en-US" sz="2000" kern="100" dirty="0">
                <a:effectLst/>
                <a:ea typeface="Aptos" panose="020B0004020202020204" pitchFamily="34" charset="0"/>
              </a:rPr>
              <a:t>: letters have sounds to form letter-sound relationships and are put together to form/spell words</a:t>
            </a:r>
          </a:p>
          <a:p>
            <a:pPr marL="342900" marR="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US" sz="2000" b="1" kern="100" dirty="0">
                <a:effectLst/>
                <a:ea typeface="Aptos" panose="020B0004020202020204" pitchFamily="34" charset="0"/>
              </a:rPr>
              <a:t>Fluency</a:t>
            </a:r>
            <a:r>
              <a:rPr lang="en-US" sz="2000" kern="100" dirty="0">
                <a:effectLst/>
                <a:ea typeface="Aptos" panose="020B0004020202020204" pitchFamily="34" charset="0"/>
              </a:rPr>
              <a:t>: ability to read correctly with speed and expression</a:t>
            </a:r>
          </a:p>
          <a:p>
            <a:pPr marL="342900" marR="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US" sz="2000" b="1" kern="100" dirty="0">
                <a:effectLst/>
                <a:ea typeface="Aptos" panose="020B0004020202020204" pitchFamily="34" charset="0"/>
              </a:rPr>
              <a:t>Vocabulary</a:t>
            </a:r>
            <a:r>
              <a:rPr lang="en-US" sz="2000" kern="100" dirty="0">
                <a:effectLst/>
                <a:ea typeface="Aptos" panose="020B0004020202020204" pitchFamily="34" charset="0"/>
              </a:rPr>
              <a:t>: knowing what words mean</a:t>
            </a:r>
          </a:p>
          <a:p>
            <a:pPr marL="342900" marR="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US" sz="2000" b="1" kern="100" dirty="0">
                <a:effectLst/>
                <a:ea typeface="Aptos" panose="020B0004020202020204" pitchFamily="34" charset="0"/>
              </a:rPr>
              <a:t>Comprehension</a:t>
            </a:r>
            <a:r>
              <a:rPr lang="en-US" sz="2000" kern="100" dirty="0">
                <a:effectLst/>
                <a:ea typeface="Aptos" panose="020B0004020202020204" pitchFamily="34" charset="0"/>
              </a:rPr>
              <a:t>: understanding what is being read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4075714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re 157"/>
          <p:cNvSpPr>
            <a:spLocks noGrp="1"/>
          </p:cNvSpPr>
          <p:nvPr>
            <p:ph type="title"/>
          </p:nvPr>
        </p:nvSpPr>
        <p:spPr>
          <a:xfrm>
            <a:off x="612489" y="1424130"/>
            <a:ext cx="10978994" cy="635443"/>
          </a:xfrm>
        </p:spPr>
        <p:txBody>
          <a:bodyPr/>
          <a:lstStyle/>
          <a:p>
            <a:r>
              <a:rPr lang="en-US" dirty="0">
                <a:latin typeface="Calibri"/>
                <a:ea typeface="Calibri"/>
                <a:cs typeface="Calibri"/>
              </a:rPr>
              <a:t>Levels of Instruction for Learning</a:t>
            </a:r>
            <a:endParaRPr lang="en-US" dirty="0"/>
          </a:p>
        </p:txBody>
      </p:sp>
      <p:sp>
        <p:nvSpPr>
          <p:cNvPr id="37" name="Arc plein 3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300320" y="3411071"/>
            <a:ext cx="1836000" cy="1836000"/>
          </a:xfrm>
          <a:prstGeom prst="blockArc">
            <a:avLst>
              <a:gd name="adj1" fmla="val 18827535"/>
              <a:gd name="adj2" fmla="val 2700000"/>
              <a:gd name="adj3" fmla="val 4500"/>
            </a:avLst>
          </a:prstGeom>
          <a:solidFill>
            <a:srgbClr val="F47E4B"/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1" name="Arc plein 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300320" y="3411071"/>
            <a:ext cx="1836000" cy="1836000"/>
          </a:xfrm>
          <a:prstGeom prst="blockArc">
            <a:avLst>
              <a:gd name="adj1" fmla="val 8155950"/>
              <a:gd name="adj2" fmla="val 13500000"/>
              <a:gd name="adj3" fmla="val 4500"/>
            </a:avLst>
          </a:prstGeom>
          <a:solidFill>
            <a:srgbClr val="F8B192"/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1CC8BD5-22D9-814F-D4EE-871FC0B76A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122820" y="2233571"/>
            <a:ext cx="4335853" cy="4191000"/>
            <a:chOff x="4122820" y="2233571"/>
            <a:chExt cx="4335853" cy="4191000"/>
          </a:xfrm>
        </p:grpSpPr>
        <p:sp>
          <p:nvSpPr>
            <p:cNvPr id="3" name="Arc plein 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267673" y="2233571"/>
              <a:ext cx="4191000" cy="4191000"/>
            </a:xfrm>
            <a:prstGeom prst="blockArc">
              <a:avLst>
                <a:gd name="adj1" fmla="val 18943672"/>
                <a:gd name="adj2" fmla="val 2700000"/>
                <a:gd name="adj3" fmla="val 9000"/>
              </a:avLst>
            </a:prstGeom>
            <a:solidFill>
              <a:srgbClr val="F47E4B"/>
            </a:solidFill>
            <a:ln w="25400">
              <a:solidFill>
                <a:srgbClr val="FFFFF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" name="Arc plein 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168085" y="2233571"/>
              <a:ext cx="4191000" cy="4191000"/>
            </a:xfrm>
            <a:prstGeom prst="blockArc">
              <a:avLst>
                <a:gd name="adj1" fmla="val 2473799"/>
                <a:gd name="adj2" fmla="val 8100000"/>
                <a:gd name="adj3" fmla="val 9000"/>
              </a:avLst>
            </a:prstGeom>
            <a:solidFill>
              <a:srgbClr val="6498E0"/>
            </a:solidFill>
            <a:ln w="25400">
              <a:solidFill>
                <a:srgbClr val="FFFFF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Arc plein 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122820" y="2233571"/>
              <a:ext cx="4191000" cy="4191000"/>
            </a:xfrm>
            <a:prstGeom prst="blockArc">
              <a:avLst>
                <a:gd name="adj1" fmla="val 8071289"/>
                <a:gd name="adj2" fmla="val 13500000"/>
                <a:gd name="adj3" fmla="val 9000"/>
              </a:avLst>
            </a:prstGeom>
            <a:solidFill>
              <a:srgbClr val="F8B192"/>
            </a:solidFill>
            <a:ln w="25400">
              <a:solidFill>
                <a:srgbClr val="FFFFF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Arc plein 8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122820" y="2233571"/>
              <a:ext cx="4191000" cy="4191000"/>
            </a:xfrm>
            <a:prstGeom prst="blockArc">
              <a:avLst>
                <a:gd name="adj1" fmla="val 13399945"/>
                <a:gd name="adj2" fmla="val 18900000"/>
                <a:gd name="adj3" fmla="val 9000"/>
              </a:avLst>
            </a:prstGeom>
            <a:solidFill>
              <a:srgbClr val="215AA8"/>
            </a:solidFill>
            <a:ln w="25400">
              <a:solidFill>
                <a:srgbClr val="FFFFF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FA447E0-4B10-EB2F-2F8D-90B9AF2A9C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300320" y="3411071"/>
            <a:ext cx="1836000" cy="1836000"/>
            <a:chOff x="5300320" y="3411071"/>
            <a:chExt cx="1836000" cy="1836000"/>
          </a:xfrm>
        </p:grpSpPr>
        <p:sp>
          <p:nvSpPr>
            <p:cNvPr id="39" name="Arc plein 38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5300320" y="3411071"/>
              <a:ext cx="1836000" cy="1836000"/>
            </a:xfrm>
            <a:prstGeom prst="blockArc">
              <a:avLst>
                <a:gd name="adj1" fmla="val 3012415"/>
                <a:gd name="adj2" fmla="val 8100000"/>
                <a:gd name="adj3" fmla="val 4500"/>
              </a:avLst>
            </a:prstGeom>
            <a:solidFill>
              <a:srgbClr val="6498E0"/>
            </a:solidFill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3" name="Arc plein 4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5300320" y="3411071"/>
              <a:ext cx="1836000" cy="1836000"/>
            </a:xfrm>
            <a:prstGeom prst="blockArc">
              <a:avLst>
                <a:gd name="adj1" fmla="val 13551820"/>
                <a:gd name="adj2" fmla="val 18900000"/>
                <a:gd name="adj3" fmla="val 4500"/>
              </a:avLst>
            </a:prstGeom>
            <a:solidFill>
              <a:srgbClr val="215AA8"/>
            </a:solidFill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Ellipse 20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6712952" y="3566896"/>
              <a:ext cx="267545" cy="267545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F47E4B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3" name="Ellipse 2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6712952" y="4823703"/>
              <a:ext cx="267545" cy="267545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6498E0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" name="Ellipse 2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5456145" y="4823703"/>
              <a:ext cx="267545" cy="267545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F8B192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" name="Ellipse 2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5456145" y="3566896"/>
              <a:ext cx="267545" cy="267545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215AA8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85E2D0A-47B4-3C7A-4DCD-A6ABAEF223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230492" y="3341243"/>
            <a:ext cx="1975657" cy="1975656"/>
            <a:chOff x="5230492" y="3341243"/>
            <a:chExt cx="1975657" cy="1975656"/>
          </a:xfrm>
        </p:grpSpPr>
        <p:cxnSp>
          <p:nvCxnSpPr>
            <p:cNvPr id="29" name="Connecteur droit 28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stCxn id="27" idx="1"/>
              <a:endCxn id="18" idx="5"/>
            </p:cNvCxnSpPr>
            <p:nvPr/>
          </p:nvCxnSpPr>
          <p:spPr>
            <a:xfrm flipH="1" flipV="1">
              <a:off x="5230492" y="3341243"/>
              <a:ext cx="264834" cy="264834"/>
            </a:xfrm>
            <a:prstGeom prst="line">
              <a:avLst/>
            </a:prstGeom>
            <a:ln w="1270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30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stCxn id="12" idx="3"/>
              <a:endCxn id="21" idx="7"/>
            </p:cNvCxnSpPr>
            <p:nvPr/>
          </p:nvCxnSpPr>
          <p:spPr>
            <a:xfrm flipH="1">
              <a:off x="6941316" y="3373260"/>
              <a:ext cx="264833" cy="232817"/>
            </a:xfrm>
            <a:prstGeom prst="line">
              <a:avLst/>
            </a:prstGeom>
            <a:ln w="1270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stCxn id="14" idx="1"/>
              <a:endCxn id="23" idx="5"/>
            </p:cNvCxnSpPr>
            <p:nvPr/>
          </p:nvCxnSpPr>
          <p:spPr>
            <a:xfrm flipH="1" flipV="1">
              <a:off x="6941316" y="5052067"/>
              <a:ext cx="264833" cy="264832"/>
            </a:xfrm>
            <a:prstGeom prst="line">
              <a:avLst/>
            </a:prstGeom>
            <a:ln w="1270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cteur droit 3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stCxn id="16" idx="7"/>
              <a:endCxn id="25" idx="3"/>
            </p:cNvCxnSpPr>
            <p:nvPr/>
          </p:nvCxnSpPr>
          <p:spPr>
            <a:xfrm flipV="1">
              <a:off x="5230492" y="5052067"/>
              <a:ext cx="264834" cy="264832"/>
            </a:xfrm>
            <a:prstGeom prst="line">
              <a:avLst/>
            </a:prstGeom>
            <a:ln w="1270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B761623-DEB1-7EE0-C179-24657E252E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6997" y="3697167"/>
            <a:ext cx="1753219" cy="1127125"/>
          </a:xfrm>
        </p:spPr>
        <p:txBody>
          <a:bodyPr/>
          <a:lstStyle/>
          <a:p>
            <a:r>
              <a:rPr lang="en-US" dirty="0"/>
              <a:t>Student Skill Acquisitio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738A1E9-3E68-018E-D1DC-0CB49CC1BF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outine Instruc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7329E27-C721-6D8B-E4F6-F94912208F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322" y="2861286"/>
            <a:ext cx="3409950" cy="1253514"/>
          </a:xfrm>
        </p:spPr>
        <p:txBody>
          <a:bodyPr/>
          <a:lstStyle/>
          <a:p>
            <a:r>
              <a:rPr lang="en-US" dirty="0"/>
              <a:t>Students apply learned skills during classroom routines and activiti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1F950B5-C0E5-7B24-F6E9-794C0BD8F8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48375" y="2401939"/>
            <a:ext cx="3409950" cy="444398"/>
          </a:xfrm>
        </p:spPr>
        <p:txBody>
          <a:bodyPr/>
          <a:lstStyle/>
          <a:p>
            <a:r>
              <a:rPr lang="en-US" dirty="0"/>
              <a:t>One-to-one Instruc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EDDCD33-8090-A815-B53F-E33A926362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45200" y="2846437"/>
            <a:ext cx="3409950" cy="1268363"/>
          </a:xfrm>
        </p:spPr>
        <p:txBody>
          <a:bodyPr/>
          <a:lstStyle/>
          <a:p>
            <a:r>
              <a:rPr lang="en-US" dirty="0"/>
              <a:t>Students engage with individualized learning with educator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51A4A33-EFAF-AED1-9239-15B1E4DDC7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dependent Instructio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B3CEDA0-B5A5-CEEC-2355-B617AE2AA2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1122" y="4812263"/>
            <a:ext cx="3838357" cy="1778660"/>
          </a:xfrm>
        </p:spPr>
        <p:txBody>
          <a:bodyPr/>
          <a:lstStyle/>
          <a:p>
            <a:r>
              <a:rPr lang="en-US" dirty="0"/>
              <a:t>Students work independently and work on reinforcing learned skills through practic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D915EB3-01C0-EF75-BE50-65FC727E11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48375" y="4343186"/>
            <a:ext cx="3409950" cy="444398"/>
          </a:xfrm>
        </p:spPr>
        <p:txBody>
          <a:bodyPr/>
          <a:lstStyle/>
          <a:p>
            <a:r>
              <a:rPr lang="en-US" dirty="0"/>
              <a:t>Small Group Instruction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18E66D1-D0A4-DE8D-DE07-80966F40FD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45200" y="4812162"/>
            <a:ext cx="3409950" cy="1436237"/>
          </a:xfrm>
        </p:spPr>
        <p:txBody>
          <a:bodyPr/>
          <a:lstStyle/>
          <a:p>
            <a:r>
              <a:rPr lang="en-US" dirty="0"/>
              <a:t>Educators are focused on providing reteaching learning skills</a:t>
            </a:r>
          </a:p>
        </p:txBody>
      </p:sp>
      <p:grpSp>
        <p:nvGrpSpPr>
          <p:cNvPr id="30" name="Group 29" descr="Illustration of students standing in a line">
            <a:extLst>
              <a:ext uri="{FF2B5EF4-FFF2-40B4-BE49-F238E27FC236}">
                <a16:creationId xmlns:a16="http://schemas.microsoft.com/office/drawing/2014/main" id="{C8FF1530-0842-09BE-5F67-CC538ED9FFAF}"/>
              </a:ext>
            </a:extLst>
          </p:cNvPr>
          <p:cNvGrpSpPr/>
          <p:nvPr/>
        </p:nvGrpSpPr>
        <p:grpSpPr>
          <a:xfrm>
            <a:off x="4363282" y="2474033"/>
            <a:ext cx="1016000" cy="1016000"/>
            <a:chOff x="4363282" y="2474033"/>
            <a:chExt cx="1016000" cy="1016000"/>
          </a:xfrm>
        </p:grpSpPr>
        <p:sp>
          <p:nvSpPr>
            <p:cNvPr id="18" name="Ellipse 1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4363282" y="2474033"/>
              <a:ext cx="1016000" cy="1016000"/>
            </a:xfrm>
            <a:prstGeom prst="ellipse">
              <a:avLst/>
            </a:prstGeom>
            <a:solidFill>
              <a:srgbClr val="215AA8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6" name="Graphic 5" descr="Illustration of students standing in a line">
              <a:extLst>
                <a:ext uri="{FF2B5EF4-FFF2-40B4-BE49-F238E27FC236}">
                  <a16:creationId xmlns:a16="http://schemas.microsoft.com/office/drawing/2014/main" id="{94BED554-8960-0F1B-FC34-962F17711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404387" y="2537751"/>
              <a:ext cx="923925" cy="923925"/>
            </a:xfrm>
            <a:prstGeom prst="flowChartConnector">
              <a:avLst/>
            </a:prstGeom>
          </p:spPr>
        </p:pic>
      </p:grpSp>
      <p:grpSp>
        <p:nvGrpSpPr>
          <p:cNvPr id="32" name="Group 31" descr="Illustration of a student and a teacher working at a table">
            <a:extLst>
              <a:ext uri="{FF2B5EF4-FFF2-40B4-BE49-F238E27FC236}">
                <a16:creationId xmlns:a16="http://schemas.microsoft.com/office/drawing/2014/main" id="{5CEC877C-8D0D-3CD0-F0F5-632E3320CEC5}"/>
              </a:ext>
            </a:extLst>
          </p:cNvPr>
          <p:cNvGrpSpPr/>
          <p:nvPr/>
        </p:nvGrpSpPr>
        <p:grpSpPr>
          <a:xfrm>
            <a:off x="7057359" y="2506050"/>
            <a:ext cx="1016000" cy="1016000"/>
            <a:chOff x="7057359" y="2506050"/>
            <a:chExt cx="1016000" cy="1016000"/>
          </a:xfrm>
        </p:grpSpPr>
        <p:sp>
          <p:nvSpPr>
            <p:cNvPr id="12" name="Ellipse 1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7057359" y="2506050"/>
              <a:ext cx="1016000" cy="1016000"/>
            </a:xfrm>
            <a:prstGeom prst="ellipse">
              <a:avLst/>
            </a:prstGeom>
            <a:solidFill>
              <a:srgbClr val="F47E4B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2" name="Graphic 1" descr="Illustration of a student and a teacher working at a table">
              <a:extLst>
                <a:ext uri="{FF2B5EF4-FFF2-40B4-BE49-F238E27FC236}">
                  <a16:creationId xmlns:a16="http://schemas.microsoft.com/office/drawing/2014/main" id="{A7000EEC-8DFD-A1DA-55B5-EFD776ADE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107963" y="2547325"/>
              <a:ext cx="923925" cy="933450"/>
            </a:xfrm>
            <a:prstGeom prst="flowChartConnector">
              <a:avLst/>
            </a:prstGeom>
          </p:spPr>
        </p:pic>
      </p:grpSp>
      <p:grpSp>
        <p:nvGrpSpPr>
          <p:cNvPr id="36" name="Group 35" descr="Illustration of a student sitting at a desk working on tasks">
            <a:extLst>
              <a:ext uri="{FF2B5EF4-FFF2-40B4-BE49-F238E27FC236}">
                <a16:creationId xmlns:a16="http://schemas.microsoft.com/office/drawing/2014/main" id="{E491CF03-ABD5-11A5-1EE3-544524903684}"/>
              </a:ext>
            </a:extLst>
          </p:cNvPr>
          <p:cNvGrpSpPr/>
          <p:nvPr/>
        </p:nvGrpSpPr>
        <p:grpSpPr>
          <a:xfrm>
            <a:off x="4363282" y="5168109"/>
            <a:ext cx="1016000" cy="1016000"/>
            <a:chOff x="4363282" y="5168109"/>
            <a:chExt cx="1016000" cy="1016000"/>
          </a:xfrm>
        </p:grpSpPr>
        <p:sp>
          <p:nvSpPr>
            <p:cNvPr id="16" name="Ellipse 1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4363282" y="5168109"/>
              <a:ext cx="1016000" cy="1016000"/>
            </a:xfrm>
            <a:prstGeom prst="ellipse">
              <a:avLst/>
            </a:prstGeom>
            <a:solidFill>
              <a:srgbClr val="F8B192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8" name="Graphic 7" descr="Illustration of a student sitting at a desk working on tasks">
              <a:extLst>
                <a:ext uri="{FF2B5EF4-FFF2-40B4-BE49-F238E27FC236}">
                  <a16:creationId xmlns:a16="http://schemas.microsoft.com/office/drawing/2014/main" id="{0DA24093-B110-6B59-AE44-B7514EDB30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4414836" y="5208802"/>
              <a:ext cx="923925" cy="923925"/>
            </a:xfrm>
            <a:prstGeom prst="flowChartConnector">
              <a:avLst/>
            </a:prstGeom>
          </p:spPr>
        </p:pic>
      </p:grpSp>
      <p:grpSp>
        <p:nvGrpSpPr>
          <p:cNvPr id="38" name="Group 37" descr="Illustration of a student sitting at a desk working on tasks">
            <a:extLst>
              <a:ext uri="{FF2B5EF4-FFF2-40B4-BE49-F238E27FC236}">
                <a16:creationId xmlns:a16="http://schemas.microsoft.com/office/drawing/2014/main" id="{72BFA009-EA34-4DFF-58D0-66DD48E10AC1}"/>
              </a:ext>
            </a:extLst>
          </p:cNvPr>
          <p:cNvGrpSpPr/>
          <p:nvPr/>
        </p:nvGrpSpPr>
        <p:grpSpPr>
          <a:xfrm>
            <a:off x="7057359" y="5168109"/>
            <a:ext cx="1016000" cy="1016000"/>
            <a:chOff x="7057359" y="5168109"/>
            <a:chExt cx="1016000" cy="1016000"/>
          </a:xfrm>
        </p:grpSpPr>
        <p:sp>
          <p:nvSpPr>
            <p:cNvPr id="14" name="Ellipse 1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7057359" y="5168109"/>
              <a:ext cx="1016000" cy="1016000"/>
            </a:xfrm>
            <a:prstGeom prst="ellipse">
              <a:avLst/>
            </a:prstGeom>
            <a:solidFill>
              <a:srgbClr val="6498E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4" name="Graphic 3" descr="Illustration of a student sitting at a desk working on tasks">
              <a:extLst>
                <a:ext uri="{FF2B5EF4-FFF2-40B4-BE49-F238E27FC236}">
                  <a16:creationId xmlns:a16="http://schemas.microsoft.com/office/drawing/2014/main" id="{F1BE0323-9E33-CFAB-5091-BCDC228F71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/>
          </p:blipFill>
          <p:spPr>
            <a:xfrm>
              <a:off x="7099596" y="5214146"/>
              <a:ext cx="923925" cy="923925"/>
            </a:xfrm>
            <a:prstGeom prst="flowChartConnector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49106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572C39-80B6-4695-A6F0-BC7C96406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A0FE0C0-7FC9-4529-A1B6-CBC59DB4F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451293"/>
            <a:ext cx="10978994" cy="576681"/>
          </a:xfrm>
        </p:spPr>
        <p:txBody>
          <a:bodyPr/>
          <a:lstStyle/>
          <a:p>
            <a:pPr algn="ctr"/>
            <a:r>
              <a:rPr lang="en-US" dirty="0"/>
              <a:t>Foundational Academic Lessons in STA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712F7D-1321-08FD-2454-4C7C560A8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5376" y="2164465"/>
            <a:ext cx="6520642" cy="4103813"/>
          </a:xfrm>
          <a:prstGeom prst="rect">
            <a:avLst/>
          </a:prstGeom>
          <a:gradFill flip="none" rotWithShape="1">
            <a:gsLst>
              <a:gs pos="0">
                <a:srgbClr val="0083BF">
                  <a:shade val="30000"/>
                  <a:satMod val="115000"/>
                </a:srgbClr>
              </a:gs>
              <a:gs pos="50000">
                <a:srgbClr val="0083BF">
                  <a:shade val="67500"/>
                  <a:satMod val="115000"/>
                </a:srgbClr>
              </a:gs>
              <a:gs pos="100000">
                <a:srgbClr val="0083BF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</a:endParaRPr>
          </a:p>
        </p:txBody>
      </p:sp>
      <p:pic>
        <p:nvPicPr>
          <p:cNvPr id="11" name="Picture 10" descr="image of a STAR lesson level 2: reading - receptive identification of first name, match to picture&#10;">
            <a:extLst>
              <a:ext uri="{FF2B5EF4-FFF2-40B4-BE49-F238E27FC236}">
                <a16:creationId xmlns:a16="http://schemas.microsoft.com/office/drawing/2014/main" id="{9271269D-4A94-5D9D-7AEA-CF9DCA1359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411" y="2342666"/>
            <a:ext cx="6159068" cy="38286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4849CD0-A8E5-9066-24F3-190729ECB4B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101721" y="2164466"/>
            <a:ext cx="3640065" cy="4453617"/>
          </a:xfrm>
        </p:spPr>
        <p:txBody>
          <a:bodyPr vert="horz" lIns="274320" tIns="45720" rIns="45720" bIns="45720" rtlCol="0" anchor="t">
            <a:noAutofit/>
          </a:bodyPr>
          <a:lstStyle/>
          <a:p>
            <a:r>
              <a:rPr lang="en-US" dirty="0">
                <a:latin typeface="Calibri"/>
                <a:ea typeface="Calibri"/>
                <a:cs typeface="Calibri"/>
              </a:rPr>
              <a:t>Letter identification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Name identification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Letter sounds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Matching words to pictures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Sight word identification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Reading a simple book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Writing from dictation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And more!</a:t>
            </a:r>
            <a:endParaRPr lang="en-US" dirty="0"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312147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02EA71-075A-0339-FC32-08C86B2434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C86BC69-BD76-2569-6AC9-4882E8CE6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027763"/>
            <a:ext cx="10978994" cy="773219"/>
          </a:xfrm>
        </p:spPr>
        <p:txBody>
          <a:bodyPr/>
          <a:lstStyle/>
          <a:p>
            <a:pPr algn="ctr"/>
            <a:r>
              <a:rPr lang="en-US" dirty="0"/>
              <a:t>Foundational Academic Lessons in Links</a:t>
            </a:r>
          </a:p>
        </p:txBody>
      </p:sp>
      <p:pic>
        <p:nvPicPr>
          <p:cNvPr id="4" name="Picture 3" descr="Illustration showing resource included in the handout pages 3 to 4 ">
            <a:extLst>
              <a:ext uri="{FF2B5EF4-FFF2-40B4-BE49-F238E27FC236}">
                <a16:creationId xmlns:a16="http://schemas.microsoft.com/office/drawing/2014/main" id="{26E920B7-8D6B-274E-2740-612EFA3558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86" r="18233"/>
          <a:stretch/>
        </p:blipFill>
        <p:spPr>
          <a:xfrm>
            <a:off x="78628" y="5465216"/>
            <a:ext cx="864335" cy="773218"/>
          </a:xfrm>
          <a:prstGeom prst="rect">
            <a:avLst/>
          </a:prstGeom>
        </p:spPr>
      </p:pic>
      <p:grpSp>
        <p:nvGrpSpPr>
          <p:cNvPr id="7" name="Group 6" descr="Image of Links lesson advanced level, Reading a simple set of instructions (expanded) lesson 113">
            <a:extLst>
              <a:ext uri="{FF2B5EF4-FFF2-40B4-BE49-F238E27FC236}">
                <a16:creationId xmlns:a16="http://schemas.microsoft.com/office/drawing/2014/main" id="{DCC8AD3B-6DA2-7468-FFC5-1F050A275899}"/>
              </a:ext>
            </a:extLst>
          </p:cNvPr>
          <p:cNvGrpSpPr/>
          <p:nvPr/>
        </p:nvGrpSpPr>
        <p:grpSpPr>
          <a:xfrm>
            <a:off x="924278" y="2218132"/>
            <a:ext cx="6389932" cy="4116408"/>
            <a:chOff x="1165578" y="2218132"/>
            <a:chExt cx="6389932" cy="411640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E16FA1D-F60C-8308-61E5-B7F9070C7C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165578" y="2218132"/>
              <a:ext cx="6389932" cy="4116408"/>
            </a:xfrm>
            <a:prstGeom prst="rect">
              <a:avLst/>
            </a:prstGeom>
            <a:gradFill flip="none" rotWithShape="1">
              <a:gsLst>
                <a:gs pos="0">
                  <a:srgbClr val="CCE29B">
                    <a:shade val="30000"/>
                    <a:satMod val="115000"/>
                  </a:srgbClr>
                </a:gs>
                <a:gs pos="50000">
                  <a:srgbClr val="CCE29B">
                    <a:shade val="67500"/>
                    <a:satMod val="115000"/>
                  </a:srgbClr>
                </a:gs>
                <a:gs pos="100000">
                  <a:srgbClr val="CCE29B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" panose="020F0502020204030204" pitchFamily="34" charset="0"/>
              </a:endParaRPr>
            </a:p>
          </p:txBody>
        </p:sp>
        <p:pic>
          <p:nvPicPr>
            <p:cNvPr id="5" name="Picture 4" descr="Image of Links lesson advanced level, Reading a simple set of instructions (expanded) lesson 113&#10;">
              <a:extLst>
                <a:ext uri="{FF2B5EF4-FFF2-40B4-BE49-F238E27FC236}">
                  <a16:creationId xmlns:a16="http://schemas.microsoft.com/office/drawing/2014/main" id="{9C054F18-913B-1E9B-891A-168250022A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05917" y="2324099"/>
              <a:ext cx="6164435" cy="3914335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04B2CB-92EE-C78C-C90F-41627632C23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457358" y="2075304"/>
            <a:ext cx="4319519" cy="4533557"/>
          </a:xfrm>
        </p:spPr>
        <p:txBody>
          <a:bodyPr vert="horz" lIns="274320" tIns="45720" rIns="45720" bIns="45720" rtlCol="0" anchor="t">
            <a:noAutofit/>
          </a:bodyPr>
          <a:lstStyle/>
          <a:p>
            <a:r>
              <a:rPr lang="en-US" dirty="0">
                <a:latin typeface="Calibri"/>
                <a:ea typeface="Calibri"/>
                <a:cs typeface="Calibri"/>
              </a:rPr>
              <a:t>Matching letters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Reading a simple set of instructions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Matching phrases to pictures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Typing words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Using a sight word daily schedule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Social scripts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Writing academic content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And more!</a:t>
            </a:r>
            <a:endParaRPr lang="en-US" dirty="0"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015470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66FB7-4C14-6BFB-1463-1A50A0B62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245285"/>
            <a:ext cx="10978994" cy="984733"/>
          </a:xfrm>
        </p:spPr>
        <p:txBody>
          <a:bodyPr/>
          <a:lstStyle/>
          <a:p>
            <a:r>
              <a:rPr lang="en-US" dirty="0"/>
              <a:t>What is Discrete Trial (DT)?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E5CC3A-AD13-145B-F69A-DCEE19156B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6974" y="2865862"/>
            <a:ext cx="5486400" cy="3382537"/>
          </a:xfrm>
        </p:spPr>
        <p:txBody>
          <a:bodyPr vert="horz" lIns="274320" tIns="45720" rIns="45720" bIns="45720" rtlCol="0" anchor="t">
            <a:noAutofit/>
          </a:bodyPr>
          <a:lstStyle/>
          <a:p>
            <a:r>
              <a:rPr lang="en-US" dirty="0">
                <a:latin typeface="Calibri"/>
                <a:ea typeface="Calibri"/>
                <a:cs typeface="Calibri"/>
              </a:rPr>
              <a:t>DT is an evidence-based teaching strategy where skills are taught in a logical sequence building on previously learned skills</a:t>
            </a:r>
          </a:p>
          <a:p>
            <a:r>
              <a:rPr lang="en-US" dirty="0">
                <a:latin typeface="Calibri"/>
                <a:ea typeface="Calibri"/>
                <a:cs typeface="Calibri"/>
              </a:rPr>
              <a:t>Concepts taught are identified, then broken down into specific steps for instruction</a:t>
            </a:r>
            <a:endParaRPr lang="en-US" dirty="0">
              <a:ea typeface="Calibri"/>
            </a:endParaRPr>
          </a:p>
        </p:txBody>
      </p:sp>
      <p:pic>
        <p:nvPicPr>
          <p:cNvPr id="8" name="Picture 7" descr="A teacher and a child sitting at a table with teaching materials showing a DT lesson">
            <a:extLst>
              <a:ext uri="{FF2B5EF4-FFF2-40B4-BE49-F238E27FC236}">
                <a16:creationId xmlns:a16="http://schemas.microsoft.com/office/drawing/2014/main" id="{3D5C54C5-8D34-8578-7D4B-5ABD2DBDF8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4" t="4043" r="4353" b="4089"/>
          <a:stretch/>
        </p:blipFill>
        <p:spPr>
          <a:xfrm>
            <a:off x="6349999" y="2324099"/>
            <a:ext cx="5080001" cy="3825978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37218475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26">
            <a:extLst>
              <a:ext uri="{FF2B5EF4-FFF2-40B4-BE49-F238E27FC236}">
                <a16:creationId xmlns:a16="http://schemas.microsoft.com/office/drawing/2014/main" id="{2BA6F17E-F9D5-1D8D-D495-E4039D96F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Lesson Plan 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236BCC7-FE26-0BA9-7083-4A500181E7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99534" y="1384102"/>
            <a:ext cx="2166672" cy="1213033"/>
          </a:xfrm>
        </p:spPr>
        <p:txBody>
          <a:bodyPr/>
          <a:lstStyle/>
          <a:p>
            <a:r>
              <a:rPr lang="en-US" b="1" dirty="0">
                <a:solidFill>
                  <a:prstClr val="white"/>
                </a:solidFill>
              </a:rPr>
              <a:t>Lesson objective</a:t>
            </a:r>
            <a:endParaRPr lang="en-US" dirty="0"/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D1AF7503-7738-8214-24C6-AD3EE33247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071889" y="1936946"/>
            <a:ext cx="653008" cy="268279"/>
          </a:xfrm>
          <a:prstGeom prst="straightConnector1">
            <a:avLst/>
          </a:prstGeom>
          <a:ln w="38100">
            <a:solidFill>
              <a:srgbClr val="101E4E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Screenshot of sample lesson plan with descriptors of what is included ">
            <a:extLst>
              <a:ext uri="{FF2B5EF4-FFF2-40B4-BE49-F238E27FC236}">
                <a16:creationId xmlns:a16="http://schemas.microsoft.com/office/drawing/2014/main" id="{AB6F9F2F-EA41-6B94-A2A5-9E724F446F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5038" y="1344141"/>
            <a:ext cx="3733243" cy="4848503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0FAFAFF-C0F2-4AFE-2045-7C766FC051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>
                <a:solidFill>
                  <a:prstClr val="white"/>
                </a:solidFill>
              </a:rPr>
              <a:t>Prerequisites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7AE38F97-3DDA-8932-68D4-6EAC3C839E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412038" y="3087232"/>
            <a:ext cx="453792" cy="164935"/>
          </a:xfrm>
          <a:prstGeom prst="straightConnector1">
            <a:avLst/>
          </a:prstGeom>
          <a:ln w="38100">
            <a:solidFill>
              <a:srgbClr val="101E4E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B6FAE8D-A578-729C-4B7A-9951B303C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b="1" dirty="0">
                <a:solidFill>
                  <a:prstClr val="white"/>
                </a:solidFill>
              </a:rPr>
              <a:t>Evidence-based practices embedded in the lesson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56E4264E-DE1D-2979-5BA1-A17ADF8BF1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7025617" y="3426965"/>
            <a:ext cx="1432852" cy="442329"/>
          </a:xfrm>
          <a:prstGeom prst="straightConnector1">
            <a:avLst/>
          </a:prstGeom>
          <a:ln w="38100">
            <a:solidFill>
              <a:srgbClr val="101E4E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FB221BF5-0552-6A86-2118-7D08F0E2681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8891" y="4568915"/>
            <a:ext cx="2463147" cy="1436237"/>
          </a:xfrm>
        </p:spPr>
        <p:txBody>
          <a:bodyPr/>
          <a:lstStyle/>
          <a:p>
            <a:r>
              <a:rPr lang="en-US" b="1" dirty="0">
                <a:solidFill>
                  <a:prstClr val="white"/>
                </a:solidFill>
              </a:rPr>
              <a:t>Procedures for Teaching 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C07BF304-47F7-E24B-5B1D-2C7E72F555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466430" y="5555976"/>
            <a:ext cx="458296" cy="321742"/>
          </a:xfrm>
          <a:prstGeom prst="straightConnector1">
            <a:avLst/>
          </a:prstGeom>
          <a:ln w="38100">
            <a:solidFill>
              <a:srgbClr val="101E4E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0A3E16-869B-3322-E935-C0E3D10125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1" dirty="0">
                <a:solidFill>
                  <a:prstClr val="white"/>
                </a:solidFill>
              </a:rPr>
              <a:t>Recommended Concepts to Teach/Targets 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2518E80-CDFA-C1DC-1C18-1A0F236F85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7613964" y="5480484"/>
            <a:ext cx="933768" cy="524668"/>
          </a:xfrm>
          <a:prstGeom prst="straightConnector1">
            <a:avLst/>
          </a:prstGeom>
          <a:ln w="38100">
            <a:solidFill>
              <a:srgbClr val="101E4E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Illustration showing resource included in the handout page 5">
            <a:extLst>
              <a:ext uri="{FF2B5EF4-FFF2-40B4-BE49-F238E27FC236}">
                <a16:creationId xmlns:a16="http://schemas.microsoft.com/office/drawing/2014/main" id="{0C946DC1-87EB-4363-59C0-DD96078977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86" r="18233"/>
          <a:stretch/>
        </p:blipFill>
        <p:spPr>
          <a:xfrm>
            <a:off x="8170" y="5564800"/>
            <a:ext cx="942586" cy="843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6523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4D2A9A-94A6-F91A-9F31-F1CE156EA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72539F-7186-D2FA-9578-826752E008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s-MX" sz="3600" b="1" dirty="0" err="1">
                <a:solidFill>
                  <a:srgbClr val="0067B1"/>
                </a:solidFill>
                <a:latin typeface="Calibri"/>
                <a:ea typeface="Calibri"/>
                <a:cs typeface="Calibri"/>
              </a:rPr>
              <a:t>Kaleen</a:t>
            </a:r>
            <a:r>
              <a:rPr lang="es-MX" sz="3600" b="1" dirty="0">
                <a:solidFill>
                  <a:srgbClr val="0067B1"/>
                </a:solidFill>
                <a:latin typeface="Calibri"/>
                <a:ea typeface="Calibri"/>
                <a:cs typeface="Calibri"/>
              </a:rPr>
              <a:t> Schultz, </a:t>
            </a:r>
            <a:r>
              <a:rPr lang="es-MX" sz="3600" b="1" dirty="0" err="1">
                <a:solidFill>
                  <a:srgbClr val="0067B1"/>
                </a:solidFill>
                <a:latin typeface="Calibri"/>
                <a:ea typeface="Calibri"/>
                <a:cs typeface="Calibri"/>
              </a:rPr>
              <a:t>M.Ed</a:t>
            </a:r>
            <a:endParaRPr lang="es-MX" sz="3600" b="1" dirty="0">
              <a:solidFill>
                <a:srgbClr val="0067B1"/>
              </a:solidFill>
              <a:latin typeface="Calibri"/>
              <a:ea typeface="Calibri"/>
              <a:cs typeface="Calibri"/>
            </a:endParaRPr>
          </a:p>
          <a:p>
            <a:pPr algn="ctr"/>
            <a:r>
              <a:rPr lang="en-US" dirty="0"/>
              <a:t>Former Special Education Teacher</a:t>
            </a:r>
          </a:p>
          <a:p>
            <a:pPr algn="ctr"/>
            <a:r>
              <a:rPr lang="en-US" dirty="0"/>
              <a:t>Parent to a child with autism</a:t>
            </a:r>
          </a:p>
          <a:p>
            <a:pPr algn="ctr"/>
            <a:r>
              <a:rPr lang="en-US" dirty="0">
                <a:solidFill>
                  <a:srgbClr val="000000"/>
                </a:solidFill>
              </a:rPr>
              <a:t>STAR Training Specialist</a:t>
            </a:r>
          </a:p>
          <a:p>
            <a:pPr marL="0" indent="0" algn="ctr">
              <a:buNone/>
            </a:pPr>
            <a:r>
              <a:rPr lang="en-US" dirty="0">
                <a:solidFill>
                  <a:srgbClr val="F2853D"/>
                </a:solidFill>
                <a:latin typeface="Calibri"/>
                <a:ea typeface="Calibri"/>
                <a:cs typeface="Calibri"/>
                <a:sym typeface="Wingdings" panose="05000000000000000000" pitchFamily="2" charset="2"/>
              </a:rPr>
              <a:t></a:t>
            </a:r>
            <a:r>
              <a:rPr lang="en-US" dirty="0">
                <a:latin typeface="Calibri"/>
                <a:ea typeface="Calibri"/>
                <a:cs typeface="Calibri"/>
                <a:sym typeface="Wingdings" panose="05000000000000000000" pitchFamily="2" charset="2"/>
              </a:rPr>
              <a:t>Minnesota</a:t>
            </a:r>
            <a:r>
              <a:rPr lang="en-US" dirty="0">
                <a:solidFill>
                  <a:srgbClr val="F2853D"/>
                </a:solidFill>
                <a:latin typeface="Calibri"/>
                <a:ea typeface="Calibri"/>
                <a:cs typeface="Calibri"/>
                <a:sym typeface="Wingdings" panose="05000000000000000000" pitchFamily="2" charset="2"/>
              </a:rPr>
              <a:t></a:t>
            </a:r>
            <a:endParaRPr lang="en-US" dirty="0">
              <a:solidFill>
                <a:srgbClr val="F2853D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3" name="Picture Placeholder 2" descr="A image of Kaleen, the presenter, with long hair smiling">
            <a:extLst>
              <a:ext uri="{FF2B5EF4-FFF2-40B4-BE49-F238E27FC236}">
                <a16:creationId xmlns:a16="http://schemas.microsoft.com/office/drawing/2014/main" id="{A6930FE9-982A-CEDB-8D18-09D89EF15F8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t="16210" b="16210"/>
          <a:stretch/>
        </p:blipFill>
        <p:spPr/>
      </p:pic>
    </p:spTree>
    <p:extLst>
      <p:ext uri="{BB962C8B-B14F-4D97-AF65-F5344CB8AC3E}">
        <p14:creationId xmlns:p14="http://schemas.microsoft.com/office/powerpoint/2010/main" val="18322275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8B5978-4C09-B8C1-FF4F-A5F69E9F4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282" y="1161007"/>
            <a:ext cx="7641772" cy="1181100"/>
          </a:xfrm>
        </p:spPr>
        <p:txBody>
          <a:bodyPr/>
          <a:lstStyle/>
          <a:p>
            <a:pPr algn="ctr"/>
            <a:r>
              <a:rPr lang="en-US" dirty="0"/>
              <a:t>Elementary ELA Example</a:t>
            </a:r>
          </a:p>
        </p:txBody>
      </p:sp>
      <p:pic>
        <p:nvPicPr>
          <p:cNvPr id="4" name="Picture 2" descr="Video image">
            <a:hlinkClick r:id="rId3"/>
            <a:extLst>
              <a:ext uri="{FF2B5EF4-FFF2-40B4-BE49-F238E27FC236}">
                <a16:creationId xmlns:a16="http://schemas.microsoft.com/office/drawing/2014/main" id="{474718DE-8C45-E79D-7ED7-F64CF067F76F}"/>
              </a:ext>
            </a:extLst>
          </p:cNvPr>
          <p:cNvPicPr>
            <a:picLocks noGrp="1" noChangeAspect="1" noChangeArrowheads="1"/>
          </p:cNvPicPr>
          <p:nvPr>
            <p:ph type="media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573" y="2400300"/>
            <a:ext cx="6824216" cy="3848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72667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8A185-BB8A-E1C4-52C6-DD19E02A40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1B47FE-E60A-1C15-BA56-1963E7EC3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3573" y="1161007"/>
            <a:ext cx="6824216" cy="1181100"/>
          </a:xfrm>
        </p:spPr>
        <p:txBody>
          <a:bodyPr/>
          <a:lstStyle/>
          <a:p>
            <a:pPr algn="ctr"/>
            <a:r>
              <a:rPr lang="en-US" dirty="0"/>
              <a:t>Secondary ELA Example </a:t>
            </a:r>
          </a:p>
        </p:txBody>
      </p:sp>
      <p:pic>
        <p:nvPicPr>
          <p:cNvPr id="1026" name="Picture 2" descr="Video image">
            <a:hlinkClick r:id="rId3"/>
            <a:extLst>
              <a:ext uri="{FF2B5EF4-FFF2-40B4-BE49-F238E27FC236}">
                <a16:creationId xmlns:a16="http://schemas.microsoft.com/office/drawing/2014/main" id="{D847C48B-8525-4C34-2971-4B9BB1EDEAB5}"/>
              </a:ext>
            </a:extLst>
          </p:cNvPr>
          <p:cNvPicPr>
            <a:picLocks noGrp="1" noChangeAspect="1" noChangeArrowheads="1"/>
          </p:cNvPicPr>
          <p:nvPr>
            <p:ph type="media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573" y="2400300"/>
            <a:ext cx="6824216" cy="3848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59576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1DDDD-6941-EE28-706E-EDC9AD89E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ing Lessons</a:t>
            </a:r>
          </a:p>
        </p:txBody>
      </p:sp>
    </p:spTree>
    <p:extLst>
      <p:ext uri="{BB962C8B-B14F-4D97-AF65-F5344CB8AC3E}">
        <p14:creationId xmlns:p14="http://schemas.microsoft.com/office/powerpoint/2010/main" val="34523393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84EC66-839F-248C-8A60-FB8EBC696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What Guides Our Content Development</a:t>
            </a:r>
          </a:p>
        </p:txBody>
      </p:sp>
      <p:pic>
        <p:nvPicPr>
          <p:cNvPr id="10" name="Graphic 9" descr="Illustration of a child reading. ">
            <a:extLst>
              <a:ext uri="{FF2B5EF4-FFF2-40B4-BE49-F238E27FC236}">
                <a16:creationId xmlns:a16="http://schemas.microsoft.com/office/drawing/2014/main" id="{A7510411-3069-570D-81F3-5FBAE0DFEC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81016" y="2164080"/>
            <a:ext cx="3762127" cy="3762127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E61B4E-8A42-4277-B840-CB160ADD63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vidence-based strategies rooted in </a:t>
            </a:r>
            <a:r>
              <a:rPr lang="en-US" b="1" dirty="0"/>
              <a:t>education research</a:t>
            </a:r>
          </a:p>
          <a:p>
            <a:r>
              <a:rPr lang="en-US" dirty="0"/>
              <a:t>Structured literacy methods aligned with the </a:t>
            </a:r>
            <a:r>
              <a:rPr lang="en-US" b="1" dirty="0"/>
              <a:t>science of reading</a:t>
            </a:r>
          </a:p>
          <a:p>
            <a:r>
              <a:rPr lang="en-US" dirty="0"/>
              <a:t>Need for </a:t>
            </a:r>
            <a:r>
              <a:rPr lang="en-US" b="1" dirty="0"/>
              <a:t>easy-to-access lesson plans </a:t>
            </a:r>
            <a:r>
              <a:rPr lang="en-US" dirty="0"/>
              <a:t>and supports for differentiation </a:t>
            </a:r>
          </a:p>
          <a:p>
            <a:r>
              <a:rPr lang="en-US" dirty="0"/>
              <a:t>Built for </a:t>
            </a:r>
            <a:r>
              <a:rPr lang="en-US" b="1" dirty="0"/>
              <a:t>real-world success</a:t>
            </a:r>
            <a:r>
              <a:rPr lang="en-US" dirty="0"/>
              <a:t>—various digital and printable lessons for all students! </a:t>
            </a:r>
          </a:p>
        </p:txBody>
      </p:sp>
    </p:spTree>
    <p:extLst>
      <p:ext uri="{BB962C8B-B14F-4D97-AF65-F5344CB8AC3E}">
        <p14:creationId xmlns:p14="http://schemas.microsoft.com/office/powerpoint/2010/main" val="25309700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Title 1">
            <a:extLst>
              <a:ext uri="{FF2B5EF4-FFF2-40B4-BE49-F238E27FC236}">
                <a16:creationId xmlns:a16="http://schemas.microsoft.com/office/drawing/2014/main" id="{7812CEB5-AC1D-E350-2F4B-F87F60D9E2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standing Scarborough’s Reading Rop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6785016-B4A0-F9B7-725E-7C7F9DCDD9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96875" indent="-396875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en-US" dirty="0"/>
              <a:t>Scarborough's Reading Rope, developed by Hollis Scarborough in 2001, explains how various language skills intertwine to develop proficient reading abilities. ​</a:t>
            </a:r>
          </a:p>
          <a:p>
            <a:pPr marL="396875" indent="-396875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en-US" dirty="0"/>
              <a:t>A weakness in any strand can impact reading development, emphasizing the need for a balanced approach to instruction.</a:t>
            </a:r>
            <a:endParaRPr lang="en-US" sz="3600" dirty="0"/>
          </a:p>
        </p:txBody>
      </p:sp>
      <p:pic>
        <p:nvPicPr>
          <p:cNvPr id="5" name="Picture Placeholder 4" descr="A child and child reading books on a slide&#10;">
            <a:extLst>
              <a:ext uri="{FF2B5EF4-FFF2-40B4-BE49-F238E27FC236}">
                <a16:creationId xmlns:a16="http://schemas.microsoft.com/office/drawing/2014/main" id="{EDADFF3E-862F-63AB-8CFF-835E27BCB3A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62" b="7762"/>
          <a:stretch/>
        </p:blipFill>
        <p:spPr>
          <a:prstGeom prst="round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969255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54AE871-1D70-E023-4CDD-C3D43DC85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451295"/>
            <a:ext cx="10978994" cy="593677"/>
          </a:xfrm>
        </p:spPr>
        <p:txBody>
          <a:bodyPr/>
          <a:lstStyle/>
          <a:p>
            <a:r>
              <a:rPr lang="en-US" dirty="0"/>
              <a:t>Scarborough’s Reading Rope</a:t>
            </a:r>
          </a:p>
        </p:txBody>
      </p:sp>
      <p:pic>
        <p:nvPicPr>
          <p:cNvPr id="2" name="Picture 1" descr="A diagram of Scarborough's reading rope. The rope connects language comprehension and word recognition. It identifies that these strands are woven together into skilled reading becoming both increasingly strategic and automatic.&#10;">
            <a:extLst>
              <a:ext uri="{FF2B5EF4-FFF2-40B4-BE49-F238E27FC236}">
                <a16:creationId xmlns:a16="http://schemas.microsoft.com/office/drawing/2014/main" id="{5C141C80-0E13-6C81-70F6-A20241941C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t="4330" r="999" b="234"/>
          <a:stretch/>
        </p:blipFill>
        <p:spPr>
          <a:xfrm>
            <a:off x="2245246" y="2324100"/>
            <a:ext cx="7701507" cy="3957282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996F1C5-7810-D8EB-4471-DE4F69A557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31152" y="6035040"/>
            <a:ext cx="2734056" cy="192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4251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0670CF-FDA4-F335-4639-07F09C23C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182880" rIns="91440" bIns="45720" rtlCol="0" anchor="ctr">
            <a:normAutofit/>
          </a:bodyPr>
          <a:lstStyle/>
          <a:p>
            <a:r>
              <a:rPr lang="en-US" b="1" kern="1200" cap="none" spc="100" baseline="0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LA Lesson Alignment for Both Stran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324D8D-874F-0ADF-E5CC-C037A132C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6974" y="2422421"/>
            <a:ext cx="5747612" cy="3995795"/>
          </a:xfrm>
        </p:spPr>
        <p:txBody>
          <a:bodyPr/>
          <a:lstStyle/>
          <a:p>
            <a:r>
              <a:rPr lang="en-US" dirty="0"/>
              <a:t>Each month, four lessons align with the monthly unit themes, thereby enhancing student engagement with the content. </a:t>
            </a:r>
          </a:p>
          <a:p>
            <a:r>
              <a:rPr lang="en-US" dirty="0"/>
              <a:t>Two word-recognition lessons include a focus on sight words.</a:t>
            </a:r>
          </a:p>
          <a:p>
            <a:r>
              <a:rPr lang="en-US" dirty="0"/>
              <a:t>Two language comprehension lessons support diverse learning needs.</a:t>
            </a:r>
          </a:p>
          <a:p>
            <a:r>
              <a:rPr lang="en-US" dirty="0"/>
              <a:t>Lessons utilize gradual release to increase effective teaching for a variety of learners.</a:t>
            </a:r>
          </a:p>
        </p:txBody>
      </p:sp>
      <p:pic>
        <p:nvPicPr>
          <p:cNvPr id="4" name="Content Placeholder 3" descr="A desks and chairs in a classroom">
            <a:extLst>
              <a:ext uri="{FF2B5EF4-FFF2-40B4-BE49-F238E27FC236}">
                <a16:creationId xmlns:a16="http://schemas.microsoft.com/office/drawing/2014/main" id="{DB88705B-405A-4970-B711-D110DC11E8B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10550" r="10550"/>
          <a:stretch/>
        </p:blipFill>
        <p:spPr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529710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9619B-F82E-466F-3CF8-702D5E3E3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Monthly Thematic Conten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3C7A0BD-D41E-075E-A55F-BE2C1CA501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imary: Themes First! </a:t>
            </a:r>
          </a:p>
        </p:txBody>
      </p:sp>
      <p:pic>
        <p:nvPicPr>
          <p:cNvPr id="11" name="Picture Placeholder 4" descr="A group of children in a classroom interacting with STAR morning meeting materials at a table. ">
            <a:extLst>
              <a:ext uri="{FF2B5EF4-FFF2-40B4-BE49-F238E27FC236}">
                <a16:creationId xmlns:a16="http://schemas.microsoft.com/office/drawing/2014/main" id="{D558F86B-9E87-C74E-6F01-17E3EDFFE510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54" b="18154"/>
          <a:stretch/>
        </p:blipFill>
        <p:spPr bwMode="auto">
          <a:prstGeom prst="round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4C00FD6-25CE-C1D6-E0E1-364707C300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Secondary: Academic Teaching Units</a:t>
            </a:r>
          </a:p>
        </p:txBody>
      </p:sp>
      <p:pic>
        <p:nvPicPr>
          <p:cNvPr id="4" name="Picture Placeholder 3" descr="A student using Links content to identify big and small shapes. The student is cutting along the dotted lines.">
            <a:extLst>
              <a:ext uri="{FF2B5EF4-FFF2-40B4-BE49-F238E27FC236}">
                <a16:creationId xmlns:a16="http://schemas.microsoft.com/office/drawing/2014/main" id="{C824077B-FA1D-4072-262C-438EBBC2023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47" r="5847"/>
          <a:stretch>
            <a:fillRect/>
          </a:stretch>
        </p:blipFill>
        <p:spPr>
          <a:prstGeom prst="round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DD3CFE9-B830-88B0-9B08-55848B29F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038409" y="2422422"/>
            <a:ext cx="6129930" cy="356510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399"/>
              </a:buClr>
              <a:buSzPct val="12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715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399"/>
              </a:buClr>
              <a:buSzPct val="80000"/>
              <a:buFont typeface="Courier New" panose="02070309020205020404" pitchFamily="49" charset="0"/>
              <a:buChar char="o"/>
              <a:tabLst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01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39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42950" indent="-2857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144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399"/>
              </a:buClr>
              <a:buSzPct val="60000"/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147763" indent="-3476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399"/>
              </a:buClr>
              <a:buSzPct val="90000"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6pPr>
            <a:lvl7pPr marL="1031875" indent="-2349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1200"/>
              </a:spcAft>
              <a:buClr>
                <a:srgbClr val="101820"/>
              </a:buClr>
              <a:buFont typeface="Wingdings 3" pitchFamily="18" charset="2"/>
              <a:buChar char="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6875" indent="-396875">
              <a:buClr>
                <a:schemeClr val="accent2"/>
              </a:buClr>
              <a:buFont typeface="Wingdings" panose="05000000000000000000" pitchFamily="2" charset="2"/>
              <a:buChar char="«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2213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AB6EA0-E803-17C8-4914-60D25288F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183339"/>
            <a:ext cx="10978994" cy="556562"/>
          </a:xfrm>
        </p:spPr>
        <p:txBody>
          <a:bodyPr/>
          <a:lstStyle/>
          <a:p>
            <a:r>
              <a:rPr lang="en-US" dirty="0"/>
              <a:t>2025-2026 Themes</a:t>
            </a:r>
          </a:p>
        </p:txBody>
      </p:sp>
      <p:pic>
        <p:nvPicPr>
          <p:cNvPr id="3" name="Picture 2" descr="Illustration showing resource included in the handout pages 6 to 7&#10;">
            <a:extLst>
              <a:ext uri="{FF2B5EF4-FFF2-40B4-BE49-F238E27FC236}">
                <a16:creationId xmlns:a16="http://schemas.microsoft.com/office/drawing/2014/main" id="{EAB96E19-B9E6-BD94-C903-F1025777FC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86" r="18233"/>
          <a:stretch/>
        </p:blipFill>
        <p:spPr>
          <a:xfrm>
            <a:off x="144635" y="5394432"/>
            <a:ext cx="1077239" cy="963678"/>
          </a:xfrm>
          <a:prstGeom prst="rect">
            <a:avLst/>
          </a:prstGeom>
        </p:spPr>
      </p:pic>
      <p:grpSp>
        <p:nvGrpSpPr>
          <p:cNvPr id="12" name="Group 11" descr="Screenshot of STAR upcoming themes">
            <a:extLst>
              <a:ext uri="{FF2B5EF4-FFF2-40B4-BE49-F238E27FC236}">
                <a16:creationId xmlns:a16="http://schemas.microsoft.com/office/drawing/2014/main" id="{E95490CF-DD6F-CB5A-10CF-0D9EEEBC9038}"/>
              </a:ext>
            </a:extLst>
          </p:cNvPr>
          <p:cNvGrpSpPr/>
          <p:nvPr/>
        </p:nvGrpSpPr>
        <p:grpSpPr>
          <a:xfrm>
            <a:off x="1111473" y="2066997"/>
            <a:ext cx="3494854" cy="4211600"/>
            <a:chOff x="423474" y="1953794"/>
            <a:chExt cx="3921644" cy="4721775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C1458CE0-C310-FEBF-FF77-9A38B27CA550}"/>
                </a:ext>
              </a:extLst>
            </p:cNvPr>
            <p:cNvSpPr/>
            <p:nvPr/>
          </p:nvSpPr>
          <p:spPr>
            <a:xfrm>
              <a:off x="423474" y="1953794"/>
              <a:ext cx="3921644" cy="472177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" panose="020F0502020204030204" pitchFamily="34" charset="0"/>
              </a:endParaRPr>
            </a:p>
          </p:txBody>
        </p:sp>
        <p:pic>
          <p:nvPicPr>
            <p:cNvPr id="5" name="Picture 4" descr="The STAR Themes First! units listed for the 2025-2026 school year, listed monthly&#10;.&#10;">
              <a:extLst>
                <a:ext uri="{FF2B5EF4-FFF2-40B4-BE49-F238E27FC236}">
                  <a16:creationId xmlns:a16="http://schemas.microsoft.com/office/drawing/2014/main" id="{52AAF277-CC5E-5D24-A517-8CEE511DF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1241" y="2149297"/>
              <a:ext cx="3426111" cy="4330768"/>
            </a:xfrm>
            <a:prstGeom prst="roundRect">
              <a:avLst/>
            </a:prstGeom>
          </p:spPr>
        </p:pic>
      </p:grpSp>
      <p:pic>
        <p:nvPicPr>
          <p:cNvPr id="8" name="Graphic 7" descr="Illustration of a student in wheelchair cheering">
            <a:extLst>
              <a:ext uri="{FF2B5EF4-FFF2-40B4-BE49-F238E27FC236}">
                <a16:creationId xmlns:a16="http://schemas.microsoft.com/office/drawing/2014/main" id="{53329FF5-5542-D8B9-E71A-6F3F3C326D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4994" y="3804707"/>
            <a:ext cx="2473890" cy="2473890"/>
          </a:xfrm>
          <a:prstGeom prst="rect">
            <a:avLst/>
          </a:prstGeom>
        </p:spPr>
      </p:pic>
      <p:grpSp>
        <p:nvGrpSpPr>
          <p:cNvPr id="13" name="Group 12" descr="The Academic Teaching Units in Links for the 2025-2026 school year, listed by month.&#10;">
            <a:extLst>
              <a:ext uri="{FF2B5EF4-FFF2-40B4-BE49-F238E27FC236}">
                <a16:creationId xmlns:a16="http://schemas.microsoft.com/office/drawing/2014/main" id="{D7369C0C-AFB2-3AFE-9AC1-440B5853CCEB}"/>
              </a:ext>
            </a:extLst>
          </p:cNvPr>
          <p:cNvGrpSpPr/>
          <p:nvPr/>
        </p:nvGrpSpPr>
        <p:grpSpPr>
          <a:xfrm>
            <a:off x="7362085" y="2137631"/>
            <a:ext cx="3495863" cy="4208504"/>
            <a:chOff x="7126543" y="2009301"/>
            <a:chExt cx="3922776" cy="471830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A44FE600-7ADD-C57D-3E2D-BEDC7AF1FAF9}"/>
                </a:ext>
              </a:extLst>
            </p:cNvPr>
            <p:cNvSpPr/>
            <p:nvPr/>
          </p:nvSpPr>
          <p:spPr>
            <a:xfrm>
              <a:off x="7126543" y="2009301"/>
              <a:ext cx="3922776" cy="471830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" panose="020F0502020204030204" pitchFamily="34" charset="0"/>
              </a:endParaRPr>
            </a:p>
          </p:txBody>
        </p:sp>
        <p:pic>
          <p:nvPicPr>
            <p:cNvPr id="6" name="Picture 5" descr="The Links ATUs units listed for the 2025-2026 school year, listed monthly&#10;.&#10;&#10;">
              <a:extLst>
                <a:ext uri="{FF2B5EF4-FFF2-40B4-BE49-F238E27FC236}">
                  <a16:creationId xmlns:a16="http://schemas.microsoft.com/office/drawing/2014/main" id="{F0B970E2-0589-C3E7-F6A2-8988956C44E5}"/>
                </a:ext>
              </a:extLst>
            </p:cNvPr>
            <p:cNvPicPr>
              <a:picLocks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373431" y="2201325"/>
              <a:ext cx="3429000" cy="4334256"/>
            </a:xfrm>
            <a:prstGeom prst="round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09481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925BEE-66E4-29F0-37B2-8A2A77FC6B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 descr="The STAR Themes First! enlarged table of standards alignment form focused on ELA.">
            <a:extLst>
              <a:ext uri="{FF2B5EF4-FFF2-40B4-BE49-F238E27FC236}">
                <a16:creationId xmlns:a16="http://schemas.microsoft.com/office/drawing/2014/main" id="{3A0431C4-217A-1D87-3BA0-78AC5431D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503" y="1369421"/>
            <a:ext cx="10978994" cy="861913"/>
          </a:xfrm>
        </p:spPr>
        <p:txBody>
          <a:bodyPr/>
          <a:lstStyle/>
          <a:p>
            <a:pPr algn="ctr"/>
            <a:r>
              <a:rPr lang="en-US" dirty="0"/>
              <a:t>ELA Alignment in STAR Themes First!</a:t>
            </a:r>
          </a:p>
        </p:txBody>
      </p:sp>
      <p:pic>
        <p:nvPicPr>
          <p:cNvPr id="2" name="Picture 1" descr="Screen capture of themes for the ELA Alignment in STAR First ">
            <a:extLst>
              <a:ext uri="{FF2B5EF4-FFF2-40B4-BE49-F238E27FC236}">
                <a16:creationId xmlns:a16="http://schemas.microsoft.com/office/drawing/2014/main" id="{A31A2649-4E41-FC52-45EF-ED5572D777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216" y="2324099"/>
            <a:ext cx="10512287" cy="3856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948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7F69A-4FBD-6EBF-D35E-3BE81D72B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outs</a:t>
            </a:r>
          </a:p>
        </p:txBody>
      </p:sp>
      <p:pic>
        <p:nvPicPr>
          <p:cNvPr id="6" name="Picture Placeholder 5" descr="A blue and orange pencil on a piece of paper used for handout icon&#10;">
            <a:extLst>
              <a:ext uri="{FF2B5EF4-FFF2-40B4-BE49-F238E27FC236}">
                <a16:creationId xmlns:a16="http://schemas.microsoft.com/office/drawing/2014/main" id="{B975A2E2-0F0E-3B1F-4582-7A1F0018821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63" r="20629"/>
          <a:stretch/>
        </p:blipFill>
        <p:spPr>
          <a:xfrm>
            <a:off x="835097" y="2494885"/>
            <a:ext cx="4355586" cy="3681052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1FEC35-AF2E-5EEB-DD1B-A7E84610A3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70036" y="3331923"/>
            <a:ext cx="5486400" cy="2988940"/>
          </a:xfrm>
        </p:spPr>
        <p:txBody>
          <a:bodyPr/>
          <a:lstStyle/>
          <a:p>
            <a:r>
              <a:rPr lang="en-US" dirty="0"/>
              <a:t>Our handouts include resources! </a:t>
            </a:r>
          </a:p>
          <a:p>
            <a:r>
              <a:rPr lang="en-US" dirty="0"/>
              <a:t>Anytime you see this icon on the bottom, left corner – that resource is included! </a:t>
            </a:r>
          </a:p>
        </p:txBody>
      </p:sp>
    </p:spTree>
    <p:extLst>
      <p:ext uri="{BB962C8B-B14F-4D97-AF65-F5344CB8AC3E}">
        <p14:creationId xmlns:p14="http://schemas.microsoft.com/office/powerpoint/2010/main" val="15663360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 descr="Screenshot of ELA Alignment in Links Academic Teaching Units">
            <a:extLst>
              <a:ext uri="{FF2B5EF4-FFF2-40B4-BE49-F238E27FC236}">
                <a16:creationId xmlns:a16="http://schemas.microsoft.com/office/drawing/2014/main" id="{DC4FBA78-C4C5-11A0-8270-DB682E3BC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351704"/>
            <a:ext cx="10978994" cy="748697"/>
          </a:xfrm>
        </p:spPr>
        <p:txBody>
          <a:bodyPr/>
          <a:lstStyle/>
          <a:p>
            <a:pPr algn="ctr"/>
            <a:r>
              <a:rPr lang="en-US" dirty="0"/>
              <a:t>ELA Alignment in Links Academic Teaching Units</a:t>
            </a:r>
          </a:p>
        </p:txBody>
      </p:sp>
      <p:pic>
        <p:nvPicPr>
          <p:cNvPr id="3" name="Picture 2" descr="Links Academic Teaching Units Group Activities Standard Alignments for ELA.">
            <a:extLst>
              <a:ext uri="{FF2B5EF4-FFF2-40B4-BE49-F238E27FC236}">
                <a16:creationId xmlns:a16="http://schemas.microsoft.com/office/drawing/2014/main" id="{F3838C4B-E193-3FA9-C0B7-42DEFABED72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19" r="3588" b="4468"/>
          <a:stretch/>
        </p:blipFill>
        <p:spPr>
          <a:xfrm>
            <a:off x="2509990" y="2172831"/>
            <a:ext cx="6914668" cy="407556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71200138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87521-0A6F-59C5-6D45-36E6C4D50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170639"/>
            <a:ext cx="10978994" cy="424858"/>
          </a:xfrm>
        </p:spPr>
        <p:txBody>
          <a:bodyPr/>
          <a:lstStyle/>
          <a:p>
            <a:r>
              <a:rPr lang="en-US" dirty="0"/>
              <a:t>Newsletter to Include Caregivers </a:t>
            </a:r>
          </a:p>
        </p:txBody>
      </p:sp>
      <p:pic>
        <p:nvPicPr>
          <p:cNvPr id="4" name="Picture 3" descr="Image of a STAR Themes First! newsletter to caregivers ">
            <a:extLst>
              <a:ext uri="{FF2B5EF4-FFF2-40B4-BE49-F238E27FC236}">
                <a16:creationId xmlns:a16="http://schemas.microsoft.com/office/drawing/2014/main" id="{B96A179E-E22D-7BAF-15DF-CB4C0FAA13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07920" y="2021070"/>
            <a:ext cx="3397827" cy="4410535"/>
          </a:xfrm>
          <a:prstGeom prst="rect">
            <a:avLst/>
          </a:prstGeom>
          <a:ln w="9525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 descr="Image of STAR Themes First Unit Vocabulary and area for teacher to type personal message to caregivers.">
            <a:extLst>
              <a:ext uri="{FF2B5EF4-FFF2-40B4-BE49-F238E27FC236}">
                <a16:creationId xmlns:a16="http://schemas.microsoft.com/office/drawing/2014/main" id="{6F0EBE50-42A0-F68C-7FBB-3FCA8169FA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9691" y="2340087"/>
            <a:ext cx="3397827" cy="4091518"/>
          </a:xfrm>
          <a:prstGeom prst="rect">
            <a:avLst/>
          </a:prstGeom>
          <a:ln w="9525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5B61F02-1B7F-07DF-4DC2-464B28D8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853" t="14634"/>
          <a:stretch/>
        </p:blipFill>
        <p:spPr>
          <a:xfrm rot="867892">
            <a:off x="1756941" y="1831485"/>
            <a:ext cx="1078426" cy="10212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B593EDB-FAF6-9CB1-A99C-BADA85B6DA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9078316">
            <a:off x="5341389" y="4287375"/>
            <a:ext cx="1198784" cy="11987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96151D5-DD79-8E53-4D1B-C84D3C2B50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05057" y="4519478"/>
            <a:ext cx="2172810" cy="2172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335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B00E7B-93E1-250E-7F91-5BAA7EBB6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348438"/>
            <a:ext cx="10978994" cy="740001"/>
          </a:xfrm>
        </p:spPr>
        <p:txBody>
          <a:bodyPr/>
          <a:lstStyle/>
          <a:p>
            <a:r>
              <a:rPr lang="en-US" dirty="0"/>
              <a:t>Circle (TF): Introduction Stories</a:t>
            </a:r>
          </a:p>
        </p:txBody>
      </p:sp>
      <p:pic>
        <p:nvPicPr>
          <p:cNvPr id="4" name="Picture 3" descr="Images of STAR Themes first circle time lesson plan ">
            <a:extLst>
              <a:ext uri="{FF2B5EF4-FFF2-40B4-BE49-F238E27FC236}">
                <a16:creationId xmlns:a16="http://schemas.microsoft.com/office/drawing/2014/main" id="{7FBA2E22-A8D1-C56F-00B2-FDC2219908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1305" y="2272358"/>
            <a:ext cx="2889893" cy="379476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5" name="Picture 4" descr="Images of the second page of STAR TF circle time lesson plan ">
            <a:extLst>
              <a:ext uri="{FF2B5EF4-FFF2-40B4-BE49-F238E27FC236}">
                <a16:creationId xmlns:a16="http://schemas.microsoft.com/office/drawing/2014/main" id="{C6734165-B558-4FDD-9A27-4217625B2B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532680">
            <a:off x="2604250" y="2687854"/>
            <a:ext cx="2402156" cy="315430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7" name="Picture 6" descr="Images from STAR Themes First! circle time introduction story">
            <a:extLst>
              <a:ext uri="{FF2B5EF4-FFF2-40B4-BE49-F238E27FC236}">
                <a16:creationId xmlns:a16="http://schemas.microsoft.com/office/drawing/2014/main" id="{6535272A-915F-FEC4-1487-A9EF7CBE1F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49656" y="2324099"/>
            <a:ext cx="2208374" cy="289534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6" name="Picture 5" descr="Images from a page in STAR TF circle time introduction story">
            <a:extLst>
              <a:ext uri="{FF2B5EF4-FFF2-40B4-BE49-F238E27FC236}">
                <a16:creationId xmlns:a16="http://schemas.microsoft.com/office/drawing/2014/main" id="{EE2AE841-F2CA-33F9-A55A-19EC424884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60642" y="3429000"/>
            <a:ext cx="2188484" cy="286213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8" name="Picture 7" descr="Images from TF circle time introduction story">
            <a:extLst>
              <a:ext uri="{FF2B5EF4-FFF2-40B4-BE49-F238E27FC236}">
                <a16:creationId xmlns:a16="http://schemas.microsoft.com/office/drawing/2014/main" id="{2174E10F-7B06-812E-3E58-1A148179E3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29690" y="2465794"/>
            <a:ext cx="2188485" cy="280773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0" name="Picture 9" descr="Images from TF circle time introduction story">
            <a:extLst>
              <a:ext uri="{FF2B5EF4-FFF2-40B4-BE49-F238E27FC236}">
                <a16:creationId xmlns:a16="http://schemas.microsoft.com/office/drawing/2014/main" id="{EB98A42D-465E-FBD5-FCA1-955FDAD488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05921" y="2057715"/>
            <a:ext cx="1637670" cy="1637670"/>
          </a:xfrm>
          <a:prstGeom prst="rect">
            <a:avLst/>
          </a:prstGeom>
        </p:spPr>
      </p:pic>
      <p:pic>
        <p:nvPicPr>
          <p:cNvPr id="9" name="Picture 8" descr="Images from TF circle time introduction story">
            <a:extLst>
              <a:ext uri="{FF2B5EF4-FFF2-40B4-BE49-F238E27FC236}">
                <a16:creationId xmlns:a16="http://schemas.microsoft.com/office/drawing/2014/main" id="{6BE26DAE-BFA0-77EA-12A7-95B5BC9F7D4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990818" y="2413357"/>
            <a:ext cx="2446712" cy="244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9175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A8810-6BA0-4E24-5D6E-8BF12C430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ning Meeting (ATU): Conversation Starters</a:t>
            </a:r>
          </a:p>
        </p:txBody>
      </p:sp>
      <p:pic>
        <p:nvPicPr>
          <p:cNvPr id="9" name="Picture 8" descr="Images from ATU conversation starters">
            <a:extLst>
              <a:ext uri="{FF2B5EF4-FFF2-40B4-BE49-F238E27FC236}">
                <a16:creationId xmlns:a16="http://schemas.microsoft.com/office/drawing/2014/main" id="{0B428C3D-9E8A-F0D5-F621-8BA8B0EADF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76362" y="3085433"/>
            <a:ext cx="2367936" cy="1385896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 descr="Images from ATU conversation starters">
            <a:extLst>
              <a:ext uri="{FF2B5EF4-FFF2-40B4-BE49-F238E27FC236}">
                <a16:creationId xmlns:a16="http://schemas.microsoft.com/office/drawing/2014/main" id="{ACFBF287-62AA-56DD-DE4D-4EC0F3C926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3223" y="2428255"/>
            <a:ext cx="2367093" cy="1386110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 descr="Images from ATU conversation starters">
            <a:extLst>
              <a:ext uri="{FF2B5EF4-FFF2-40B4-BE49-F238E27FC236}">
                <a16:creationId xmlns:a16="http://schemas.microsoft.com/office/drawing/2014/main" id="{4D569C2B-3E9D-7A70-A215-69196C039A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09241" y="3085433"/>
            <a:ext cx="2367936" cy="1380813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 descr="Images from ATU conversation starters">
            <a:extLst>
              <a:ext uri="{FF2B5EF4-FFF2-40B4-BE49-F238E27FC236}">
                <a16:creationId xmlns:a16="http://schemas.microsoft.com/office/drawing/2014/main" id="{391875E0-3CBD-D904-8AC8-75803D7511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2481" y="4818999"/>
            <a:ext cx="2367937" cy="1382019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 descr="Illustration of diverse group of learners sitting in a circle ">
            <a:extLst>
              <a:ext uri="{FF2B5EF4-FFF2-40B4-BE49-F238E27FC236}">
                <a16:creationId xmlns:a16="http://schemas.microsoft.com/office/drawing/2014/main" id="{FC365945-998F-3349-54B1-7603716F53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542" y="3960975"/>
            <a:ext cx="2367094" cy="2367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Images from ATU conversation starters">
            <a:extLst>
              <a:ext uri="{FF2B5EF4-FFF2-40B4-BE49-F238E27FC236}">
                <a16:creationId xmlns:a16="http://schemas.microsoft.com/office/drawing/2014/main" id="{D09207EC-9D2B-C5DA-F759-FC1A0480E5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91761" y="4812792"/>
            <a:ext cx="2370831" cy="1394434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21546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ATU vocabulary activities  ">
            <a:extLst>
              <a:ext uri="{FF2B5EF4-FFF2-40B4-BE49-F238E27FC236}">
                <a16:creationId xmlns:a16="http://schemas.microsoft.com/office/drawing/2014/main" id="{0D4CA607-23D1-2ABD-07E1-5C2F5E3692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389714"/>
            <a:ext cx="10978994" cy="696262"/>
          </a:xfrm>
        </p:spPr>
        <p:txBody>
          <a:bodyPr/>
          <a:lstStyle/>
          <a:p>
            <a:r>
              <a:rPr lang="en-US" dirty="0"/>
              <a:t>Vocabul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ADF19C-C66D-3C55-2D2E-F584BDD00C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662" y="2197711"/>
            <a:ext cx="5280596" cy="429377"/>
          </a:xfrm>
        </p:spPr>
        <p:txBody>
          <a:bodyPr/>
          <a:lstStyle/>
          <a:p>
            <a:r>
              <a:rPr lang="en-US" dirty="0"/>
              <a:t>Flashcards</a:t>
            </a:r>
          </a:p>
        </p:txBody>
      </p:sp>
      <p:pic>
        <p:nvPicPr>
          <p:cNvPr id="6" name="Picture 5" descr="ATU vocabulary activities  ">
            <a:extLst>
              <a:ext uri="{FF2B5EF4-FFF2-40B4-BE49-F238E27FC236}">
                <a16:creationId xmlns:a16="http://schemas.microsoft.com/office/drawing/2014/main" id="{4D45329B-A157-5EF8-924B-BBA4C435C8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960" y="2552702"/>
            <a:ext cx="4572000" cy="39751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7AE06-C227-2E37-5A7F-7CAF32F5C0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4680" y="2247151"/>
            <a:ext cx="5283770" cy="330952"/>
          </a:xfrm>
        </p:spPr>
        <p:txBody>
          <a:bodyPr/>
          <a:lstStyle/>
          <a:p>
            <a:r>
              <a:rPr lang="en-US" dirty="0"/>
              <a:t>Group Activities</a:t>
            </a:r>
          </a:p>
        </p:txBody>
      </p:sp>
      <p:pic>
        <p:nvPicPr>
          <p:cNvPr id="3" name="Picture 2" descr="ATU vocabulary activities  ">
            <a:extLst>
              <a:ext uri="{FF2B5EF4-FFF2-40B4-BE49-F238E27FC236}">
                <a16:creationId xmlns:a16="http://schemas.microsoft.com/office/drawing/2014/main" id="{1D3B95E5-CEE0-3395-61A3-738D6A3B7F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0377" y="2540002"/>
            <a:ext cx="5372100" cy="398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02898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AD035-81AB-79DB-6D85-A52AFD696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809" y="1299941"/>
            <a:ext cx="10978994" cy="814610"/>
          </a:xfrm>
        </p:spPr>
        <p:txBody>
          <a:bodyPr/>
          <a:lstStyle/>
          <a:p>
            <a:r>
              <a:rPr lang="en-US" dirty="0"/>
              <a:t>ELA: Sequencing Events</a:t>
            </a:r>
          </a:p>
        </p:txBody>
      </p:sp>
      <p:pic>
        <p:nvPicPr>
          <p:cNvPr id="3" name="Picture 2" descr="ELS sequencing events activities &#10;&#10;">
            <a:extLst>
              <a:ext uri="{FF2B5EF4-FFF2-40B4-BE49-F238E27FC236}">
                <a16:creationId xmlns:a16="http://schemas.microsoft.com/office/drawing/2014/main" id="{1D360118-12D8-2DDA-E61E-5928923BE8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27"/>
          <a:stretch/>
        </p:blipFill>
        <p:spPr>
          <a:xfrm>
            <a:off x="1257299" y="2228849"/>
            <a:ext cx="9677401" cy="4001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7498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61EDD3-58DE-B5FE-C3B9-614B3989A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170638"/>
            <a:ext cx="8637528" cy="1153461"/>
          </a:xfrm>
        </p:spPr>
        <p:txBody>
          <a:bodyPr/>
          <a:lstStyle/>
          <a:p>
            <a:r>
              <a:rPr lang="en-US" dirty="0"/>
              <a:t>ELA Leveled Practice Activities </a:t>
            </a:r>
          </a:p>
        </p:txBody>
      </p:sp>
      <p:pic>
        <p:nvPicPr>
          <p:cNvPr id="14" name="Picture 13" descr="Samples of leveled academic goals ">
            <a:extLst>
              <a:ext uri="{FF2B5EF4-FFF2-40B4-BE49-F238E27FC236}">
                <a16:creationId xmlns:a16="http://schemas.microsoft.com/office/drawing/2014/main" id="{F52F267B-739C-F72B-016A-DE12FB3A88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14979" y="1483563"/>
            <a:ext cx="2468879" cy="8133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 descr="ELA Leveled Practice Activities &#10;&#10;">
            <a:extLst>
              <a:ext uri="{FF2B5EF4-FFF2-40B4-BE49-F238E27FC236}">
                <a16:creationId xmlns:a16="http://schemas.microsoft.com/office/drawing/2014/main" id="{C7B83700-A2C5-88E2-AFFB-35269D3B6A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7952" y="2400299"/>
            <a:ext cx="10196095" cy="4039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79381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685B0-D34B-AE9A-B87C-5A1E2556B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503" y="1236082"/>
            <a:ext cx="10978994" cy="990284"/>
          </a:xfrm>
        </p:spPr>
        <p:txBody>
          <a:bodyPr/>
          <a:lstStyle/>
          <a:p>
            <a:r>
              <a:rPr lang="en-US" dirty="0"/>
              <a:t>Lesson Structure </a:t>
            </a:r>
          </a:p>
        </p:txBody>
      </p:sp>
      <p:pic>
        <p:nvPicPr>
          <p:cNvPr id="4" name="Picture 3" descr="Links ATU Lesson plan Examples&#10;&#10;">
            <a:extLst>
              <a:ext uri="{FF2B5EF4-FFF2-40B4-BE49-F238E27FC236}">
                <a16:creationId xmlns:a16="http://schemas.microsoft.com/office/drawing/2014/main" id="{7A315991-457D-5228-D320-D5DDE5B92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3439" y="2389542"/>
            <a:ext cx="9505122" cy="393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93954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075ADC-C5C8-C38E-A1C5-445D060E3A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9AA81-1B5C-AC40-F461-AC579807E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503" y="1284910"/>
            <a:ext cx="10978994" cy="883063"/>
          </a:xfrm>
        </p:spPr>
        <p:txBody>
          <a:bodyPr/>
          <a:lstStyle/>
          <a:p>
            <a:r>
              <a:rPr lang="en-US" dirty="0"/>
              <a:t>Embedded Skill Targets</a:t>
            </a:r>
          </a:p>
        </p:txBody>
      </p:sp>
      <p:pic>
        <p:nvPicPr>
          <p:cNvPr id="4" name="Picture 3" descr="embedded skill targets in a Links ATU lesson plan">
            <a:extLst>
              <a:ext uri="{FF2B5EF4-FFF2-40B4-BE49-F238E27FC236}">
                <a16:creationId xmlns:a16="http://schemas.microsoft.com/office/drawing/2014/main" id="{F90E65CF-1A5B-35E1-5459-1356B7F63E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9822" y="2390746"/>
            <a:ext cx="9412356" cy="383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8852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1A3A10-96F6-15C3-2C11-6B1BCE0CE0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An instructional document titled &quot;Activity Variation&quot; provides ideas for keeping students engaged while practicing sight words. The enlarged section highlights three strategies:&#10;&#10;Students place cards in front of them and tap if they have a matching word, with the quickest student placing the card on top.&#10;&#10;The teacher presents calling cards in a flashcard style for timed identification.&#10;&#10;A memory game using two sets of sight word cards, arranged face down in rows for students to find matching pairs.">
            <a:extLst>
              <a:ext uri="{FF2B5EF4-FFF2-40B4-BE49-F238E27FC236}">
                <a16:creationId xmlns:a16="http://schemas.microsoft.com/office/drawing/2014/main" id="{309C67A9-92D8-CC1F-852B-DE6246220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503" y="1298713"/>
            <a:ext cx="10978994" cy="916165"/>
          </a:xfrm>
        </p:spPr>
        <p:txBody>
          <a:bodyPr/>
          <a:lstStyle/>
          <a:p>
            <a:r>
              <a:rPr lang="en-US" dirty="0"/>
              <a:t>Lesson Variation</a:t>
            </a:r>
          </a:p>
        </p:txBody>
      </p:sp>
      <p:pic>
        <p:nvPicPr>
          <p:cNvPr id="3" name="Picture 2" descr="Screen capture of a Lesson Variation ">
            <a:extLst>
              <a:ext uri="{FF2B5EF4-FFF2-40B4-BE49-F238E27FC236}">
                <a16:creationId xmlns:a16="http://schemas.microsoft.com/office/drawing/2014/main" id="{160F532A-2F71-4FED-74A4-5A911654A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074" y="2347327"/>
            <a:ext cx="9385852" cy="3820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675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280841B-3E5E-E954-9850-F50B42EC22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98918" y="2156212"/>
            <a:ext cx="2830025" cy="4019301"/>
          </a:xfrm>
          <a:prstGeom prst="roundRect">
            <a:avLst/>
          </a:prstGeom>
          <a:solidFill>
            <a:srgbClr val="5DC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C05B576-2DB3-420D-1713-BC4C4EF300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91333" y="2156212"/>
            <a:ext cx="2830025" cy="4019301"/>
          </a:xfrm>
          <a:prstGeom prst="roundRect">
            <a:avLst/>
          </a:prstGeom>
          <a:solidFill>
            <a:srgbClr val="5DC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2640D83-117C-D172-AAD0-7323B4A271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83749" y="2156212"/>
            <a:ext cx="2830025" cy="4019301"/>
          </a:xfrm>
          <a:prstGeom prst="roundRect">
            <a:avLst/>
          </a:prstGeom>
          <a:solidFill>
            <a:srgbClr val="5DC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286C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2B7FF6-D0FC-5DF4-5523-74AAE535E3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440605"/>
            <a:ext cx="10978994" cy="553659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55A5"/>
                </a:solidFill>
              </a:rPr>
              <a:t>Who is STAR Autism Support?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2B9EA2-C147-3503-D2B8-04AE2453DB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>
              <a:buClr>
                <a:srgbClr val="ED7D31"/>
              </a:buClr>
              <a:buSzPct val="120000"/>
              <a:defRPr/>
            </a:pPr>
            <a:r>
              <a:rPr lang="en-US" b="1" dirty="0">
                <a:solidFill>
                  <a:prstClr val="black"/>
                </a:solidFill>
              </a:rPr>
              <a:t>Evidence-based</a:t>
            </a:r>
            <a:r>
              <a:rPr lang="en-US" dirty="0">
                <a:solidFill>
                  <a:prstClr val="black"/>
                </a:solidFill>
              </a:rPr>
              <a:t> curricula and resources</a:t>
            </a:r>
          </a:p>
          <a:p>
            <a:pPr lvl="0">
              <a:buClr>
                <a:srgbClr val="ED7D31"/>
              </a:buClr>
              <a:buSzPct val="120000"/>
              <a:defRPr/>
            </a:pPr>
            <a:r>
              <a:rPr lang="en-US" b="1" dirty="0">
                <a:solidFill>
                  <a:prstClr val="black"/>
                </a:solidFill>
              </a:rPr>
              <a:t>Training and support </a:t>
            </a:r>
            <a:r>
              <a:rPr lang="en-US" dirty="0">
                <a:solidFill>
                  <a:prstClr val="black"/>
                </a:solidFill>
              </a:rPr>
              <a:t>for educational staff and caregiver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427FA17-C8D3-88C4-11E5-CEA45D9E5B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Building school- and </a:t>
            </a:r>
            <a:r>
              <a:rPr lang="en-US" b="1" dirty="0">
                <a:solidFill>
                  <a:prstClr val="black"/>
                </a:solidFill>
              </a:rPr>
              <a:t>district-wide</a:t>
            </a:r>
            <a:r>
              <a:rPr lang="en-US" dirty="0">
                <a:solidFill>
                  <a:prstClr val="black"/>
                </a:solidFill>
              </a:rPr>
              <a:t> capacity to serve students with </a:t>
            </a:r>
            <a:r>
              <a:rPr lang="en-US" b="1" dirty="0">
                <a:solidFill>
                  <a:prstClr val="black"/>
                </a:solidFill>
              </a:rPr>
              <a:t>autism and other developmental disabiliti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04C75D-9C9B-6BDB-04CF-B6B84CC061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62725" y="2507224"/>
            <a:ext cx="2830025" cy="3738715"/>
          </a:xfrm>
        </p:spPr>
        <p:txBody>
          <a:bodyPr/>
          <a:lstStyle/>
          <a:p>
            <a:pPr lvl="0">
              <a:buClr>
                <a:srgbClr val="ED7D31"/>
              </a:buClr>
              <a:buSzPct val="120000"/>
              <a:defRPr/>
            </a:pPr>
            <a:r>
              <a:rPr lang="en-US" dirty="0">
                <a:solidFill>
                  <a:prstClr val="black"/>
                </a:solidFill>
              </a:rPr>
              <a:t>Comprehensive approach across </a:t>
            </a:r>
            <a:r>
              <a:rPr lang="en-US" b="1" dirty="0">
                <a:solidFill>
                  <a:prstClr val="black"/>
                </a:solidFill>
              </a:rPr>
              <a:t>all grade levels</a:t>
            </a:r>
          </a:p>
          <a:p>
            <a:pPr lvl="0">
              <a:buClr>
                <a:srgbClr val="ED7D31"/>
              </a:buClr>
              <a:buSzPct val="120000"/>
              <a:defRPr/>
            </a:pPr>
            <a:r>
              <a:rPr lang="en-US" dirty="0">
                <a:solidFill>
                  <a:prstClr val="black"/>
                </a:solidFill>
              </a:rPr>
              <a:t>Student growth and achievement in </a:t>
            </a:r>
            <a:r>
              <a:rPr lang="en-US" b="1" dirty="0">
                <a:solidFill>
                  <a:prstClr val="black"/>
                </a:solidFill>
              </a:rPr>
              <a:t>all learning environment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CCF3B08-EA6C-09D9-FFB8-3907E93D5E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168591" y="3874932"/>
            <a:ext cx="704779" cy="765253"/>
            <a:chOff x="1852811" y="-232595"/>
            <a:chExt cx="397663" cy="465191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602B1CBF-6678-FB00-074D-17A108501371}"/>
                </a:ext>
              </a:extLst>
            </p:cNvPr>
            <p:cNvSpPr/>
            <p:nvPr/>
          </p:nvSpPr>
          <p:spPr>
            <a:xfrm>
              <a:off x="1852811" y="-232595"/>
              <a:ext cx="397663" cy="465191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F58025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" name="Arrow: Right 4">
              <a:extLst>
                <a:ext uri="{FF2B5EF4-FFF2-40B4-BE49-F238E27FC236}">
                  <a16:creationId xmlns:a16="http://schemas.microsoft.com/office/drawing/2014/main" id="{C730D9BC-978B-9050-1BD7-D26D9888119F}"/>
                </a:ext>
              </a:extLst>
            </p:cNvPr>
            <p:cNvSpPr txBox="1"/>
            <p:nvPr/>
          </p:nvSpPr>
          <p:spPr>
            <a:xfrm>
              <a:off x="1852811" y="-139557"/>
              <a:ext cx="278364" cy="2791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marR="0" lvl="0" indent="0" algn="ctr" defTabSz="9334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669BB1B-23A1-6E6C-2C72-0493D37DFB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489762" y="3874932"/>
            <a:ext cx="704779" cy="765253"/>
            <a:chOff x="1852811" y="-232595"/>
            <a:chExt cx="397663" cy="465191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87247738-3E0F-B8F8-78B9-29BDAE629292}"/>
                </a:ext>
              </a:extLst>
            </p:cNvPr>
            <p:cNvSpPr/>
            <p:nvPr/>
          </p:nvSpPr>
          <p:spPr>
            <a:xfrm>
              <a:off x="1852811" y="-232595"/>
              <a:ext cx="397663" cy="465191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F58025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" name="Arrow: Right 4">
              <a:extLst>
                <a:ext uri="{FF2B5EF4-FFF2-40B4-BE49-F238E27FC236}">
                  <a16:creationId xmlns:a16="http://schemas.microsoft.com/office/drawing/2014/main" id="{70C0F5DE-7068-7172-95F3-50377D3186AF}"/>
                </a:ext>
              </a:extLst>
            </p:cNvPr>
            <p:cNvSpPr txBox="1"/>
            <p:nvPr/>
          </p:nvSpPr>
          <p:spPr>
            <a:xfrm>
              <a:off x="1852811" y="-139557"/>
              <a:ext cx="278364" cy="2791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marR="0" lvl="0" indent="0" algn="ctr" defTabSz="9334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816808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A set of printable sight word activity cards for early learners. Some cards show individual sight words like &quot;on,&quot; &quot;eat,&quot; &quot;four,&quot; &quot;put,&quot; &quot;like,&quot; and &quot;into.&quot; Others are formatted as “I have / Who has” game cards. A small illustrated instructional strip at the bottom shows students participating in a group activity, holding cards, listening to a teacher, and matching words.&#10;&#10;&#10;&#10;&#10;&#10;&#10;">
            <a:extLst>
              <a:ext uri="{FF2B5EF4-FFF2-40B4-BE49-F238E27FC236}">
                <a16:creationId xmlns:a16="http://schemas.microsoft.com/office/drawing/2014/main" id="{EAE17714-A010-E687-1FCD-1DE69C29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503" y="1325217"/>
            <a:ext cx="10978994" cy="798858"/>
          </a:xfrm>
        </p:spPr>
        <p:txBody>
          <a:bodyPr/>
          <a:lstStyle/>
          <a:p>
            <a:r>
              <a:rPr lang="en-US" dirty="0"/>
              <a:t>Printable Lesson Examples</a:t>
            </a:r>
          </a:p>
        </p:txBody>
      </p:sp>
      <p:pic>
        <p:nvPicPr>
          <p:cNvPr id="8" name="Picture 7" descr="Screen capture of Printable Lesson Examples">
            <a:extLst>
              <a:ext uri="{FF2B5EF4-FFF2-40B4-BE49-F238E27FC236}">
                <a16:creationId xmlns:a16="http://schemas.microsoft.com/office/drawing/2014/main" id="{166F23C0-D6B1-45CB-D224-933FC03371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7305" y="2261654"/>
            <a:ext cx="9437389" cy="4106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2018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7AC34-72C3-48BC-09C9-4CE8FBE959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234" y="1258957"/>
            <a:ext cx="10978994" cy="967624"/>
          </a:xfrm>
        </p:spPr>
        <p:txBody>
          <a:bodyPr/>
          <a:lstStyle/>
          <a:p>
            <a:r>
              <a:rPr lang="en-US" dirty="0"/>
              <a:t>Digital Lesson Examples </a:t>
            </a:r>
          </a:p>
        </p:txBody>
      </p:sp>
      <p:pic>
        <p:nvPicPr>
          <p:cNvPr id="3" name="Picture 2" descr="A series of four illustrated digital flashcard-style slides used for teaching sight words. Each slide features a character holding a speech bubble with a sight word such as &quot;eat,&quot; &quot;must,&quot; or &quot;say.&quot; Students are prompted to either match the word from multiple choices, identify who has the matching sight word, or read the word aloud. A QR code is shown on the bottom left, suggesting a way to access the activity.&#10;&#10;&#10;&#10;&#10;&#10;&#10;">
            <a:extLst>
              <a:ext uri="{FF2B5EF4-FFF2-40B4-BE49-F238E27FC236}">
                <a16:creationId xmlns:a16="http://schemas.microsoft.com/office/drawing/2014/main" id="{D3B544E6-AE64-049F-2D6D-B7E665B90A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0639" y="2359568"/>
            <a:ext cx="8590722" cy="3975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77226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DA25BC-1B40-4681-4ABA-E2AE71F9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Explore! </a:t>
            </a:r>
          </a:p>
        </p:txBody>
      </p:sp>
      <p:pic>
        <p:nvPicPr>
          <p:cNvPr id="3" name="Picture 2" descr="An illustration of a laptop displaying the logos for &quot;STAR Autism Support&quot; and &quot;LINKS Curriculum&quot; on the screen. The background is light green, and the laptop is shown in gray with a visible keyboard and menu bar at the top of the screen.&#10;">
            <a:extLst>
              <a:ext uri="{FF2B5EF4-FFF2-40B4-BE49-F238E27FC236}">
                <a16:creationId xmlns:a16="http://schemas.microsoft.com/office/drawing/2014/main" id="{C21BC84F-1457-1D46-7128-72BF61ADF2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8350" y="2324099"/>
            <a:ext cx="5575300" cy="37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7200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380C8-2015-4659-CD76-4D1EAA110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heduling for Success</a:t>
            </a:r>
          </a:p>
        </p:txBody>
      </p:sp>
    </p:spTree>
    <p:extLst>
      <p:ext uri="{BB962C8B-B14F-4D97-AF65-F5344CB8AC3E}">
        <p14:creationId xmlns:p14="http://schemas.microsoft.com/office/powerpoint/2010/main" val="352926076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BA899-647B-FF86-4A8C-D7234A88D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503" y="1232452"/>
            <a:ext cx="10978994" cy="1005923"/>
          </a:xfrm>
        </p:spPr>
        <p:txBody>
          <a:bodyPr/>
          <a:lstStyle/>
          <a:p>
            <a:r>
              <a:rPr lang="en-US" dirty="0"/>
              <a:t>Schedule Samples </a:t>
            </a:r>
          </a:p>
        </p:txBody>
      </p:sp>
      <p:pic>
        <p:nvPicPr>
          <p:cNvPr id="9" name="Picture 8" descr="A collage of three images showing classroom organization and visual schedules:&#10;&#10;On the left, a printed “Primary Schedule” from STAR Autism Support outlines a detailed daily classroom routine with start and end times, activity names, and descriptions.&#10;&#10;In the center, a student stands in front of brown lockers, interacting with a visual schedule posted on the locker doors.&#10;&#10;On the right, a display titled “OUR GAME PLAN” shows rows of vertical visual schedules or charts, each personalized for individual students, likely showing daily tasks or goals.">
            <a:extLst>
              <a:ext uri="{FF2B5EF4-FFF2-40B4-BE49-F238E27FC236}">
                <a16:creationId xmlns:a16="http://schemas.microsoft.com/office/drawing/2014/main" id="{DEBE9D8B-BEDF-7D1E-88DE-99D69D8F8A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745" y="2363799"/>
            <a:ext cx="9996510" cy="3886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4590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9C9174-7131-6428-EBA4-F830928E1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503" y="1290073"/>
            <a:ext cx="10978994" cy="862578"/>
          </a:xfrm>
        </p:spPr>
        <p:txBody>
          <a:bodyPr/>
          <a:lstStyle/>
          <a:p>
            <a:r>
              <a:rPr lang="en-US" dirty="0"/>
              <a:t>IEP Alignment tools </a:t>
            </a:r>
          </a:p>
        </p:txBody>
      </p:sp>
      <p:pic>
        <p:nvPicPr>
          <p:cNvPr id="4" name="Picture 3" descr="Screen capture of IEP Alignment tools ">
            <a:extLst>
              <a:ext uri="{FF2B5EF4-FFF2-40B4-BE49-F238E27FC236}">
                <a16:creationId xmlns:a16="http://schemas.microsoft.com/office/drawing/2014/main" id="{4F63EF09-F885-ECD0-D259-ABF9BCA03D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4656" y="2448768"/>
            <a:ext cx="9902687" cy="3848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71985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105BA-C69D-F5EA-CBCB-BCAC555B4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320074775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1FDAA1-4618-4B7D-AA84-C85E38E23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ee Home Supports</a:t>
            </a:r>
          </a:p>
        </p:txBody>
      </p:sp>
      <p:pic>
        <p:nvPicPr>
          <p:cNvPr id="6" name="Picture 5" descr="A qr code with a logo to access Home Supports">
            <a:extLst>
              <a:ext uri="{FF2B5EF4-FFF2-40B4-BE49-F238E27FC236}">
                <a16:creationId xmlns:a16="http://schemas.microsoft.com/office/drawing/2014/main" id="{C78E8538-F74F-0E37-31BF-490F60D4F8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1078" y="2421566"/>
            <a:ext cx="2306048" cy="2864112"/>
          </a:xfrm>
          <a:prstGeom prst="rect">
            <a:avLst/>
          </a:prstGeom>
        </p:spPr>
      </p:pic>
      <p:pic>
        <p:nvPicPr>
          <p:cNvPr id="5" name="Content Placeholder 4" descr="An image of the STAR Media Center">
            <a:extLst>
              <a:ext uri="{FF2B5EF4-FFF2-40B4-BE49-F238E27FC236}">
                <a16:creationId xmlns:a16="http://schemas.microsoft.com/office/drawing/2014/main" id="{5847AB36-9253-4129-915E-DA1FDAF556D9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4"/>
          <a:stretch>
            <a:fillRect/>
          </a:stretch>
        </p:blipFill>
        <p:spPr>
          <a:xfrm>
            <a:off x="5326380" y="2525218"/>
            <a:ext cx="4991100" cy="2495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43FC665-D163-6597-8C45-BA05F49867B6}"/>
              </a:ext>
            </a:extLst>
          </p:cNvPr>
          <p:cNvSpPr txBox="1"/>
          <p:nvPr/>
        </p:nvSpPr>
        <p:spPr>
          <a:xfrm>
            <a:off x="2293434" y="5687362"/>
            <a:ext cx="76051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468B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ww.starautismsupport.com</a:t>
            </a:r>
          </a:p>
        </p:txBody>
      </p:sp>
    </p:spTree>
    <p:extLst>
      <p:ext uri="{BB962C8B-B14F-4D97-AF65-F5344CB8AC3E}">
        <p14:creationId xmlns:p14="http://schemas.microsoft.com/office/powerpoint/2010/main" val="362683503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D5B164-3B70-4B1C-BC11-84B8EA4A9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me Support Activities and Visuals</a:t>
            </a:r>
          </a:p>
        </p:txBody>
      </p:sp>
      <p:pic>
        <p:nvPicPr>
          <p:cNvPr id="5" name="Picture 4" descr="Image of the STAR Media Center showing Home Activities  ">
            <a:extLst>
              <a:ext uri="{FF2B5EF4-FFF2-40B4-BE49-F238E27FC236}">
                <a16:creationId xmlns:a16="http://schemas.microsoft.com/office/drawing/2014/main" id="{21B64BFB-7A2D-8496-43AB-A653A9D435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517" y="2324099"/>
            <a:ext cx="3081342" cy="39030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 descr="Image of the STAR Media Center showing Home Visual Supports">
            <a:extLst>
              <a:ext uri="{FF2B5EF4-FFF2-40B4-BE49-F238E27FC236}">
                <a16:creationId xmlns:a16="http://schemas.microsoft.com/office/drawing/2014/main" id="{FAF78171-3076-F8FB-3CDD-3CC7B619A0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82392" y="2324100"/>
            <a:ext cx="3081342" cy="39030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A blue and white chore chart ">
            <a:extLst>
              <a:ext uri="{FF2B5EF4-FFF2-40B4-BE49-F238E27FC236}">
                <a16:creationId xmlns:a16="http://schemas.microsoft.com/office/drawing/2014/main" id="{53EEEB05-CCDC-D52E-1957-B364453633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5353" y="2585902"/>
            <a:ext cx="3162428" cy="24443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 descr="Visuals showing a child getting ready for bed">
            <a:extLst>
              <a:ext uri="{FF2B5EF4-FFF2-40B4-BE49-F238E27FC236}">
                <a16:creationId xmlns:a16="http://schemas.microsoft.com/office/drawing/2014/main" id="{60DDBB65-4C2B-06BD-485C-1A59DBC0F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887" y="3620015"/>
            <a:ext cx="3257895" cy="24822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9204474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B6D5A5-F15E-4E8C-B6B8-12DD6121A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me Support Webinar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0D71CC-B88C-4361-A06C-8449939D0B6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508760" y="2762252"/>
            <a:ext cx="3501779" cy="3543300"/>
          </a:xfrm>
        </p:spPr>
        <p:txBody>
          <a:bodyPr/>
          <a:lstStyle/>
          <a:p>
            <a:pPr marL="746125">
              <a:spcAft>
                <a:spcPts val="600"/>
              </a:spcAft>
              <a:tabLst>
                <a:tab pos="1035050" algn="l"/>
              </a:tabLst>
            </a:pPr>
            <a:r>
              <a:rPr lang="en-US" dirty="0"/>
              <a:t>Routines </a:t>
            </a:r>
          </a:p>
          <a:p>
            <a:pPr marL="746125">
              <a:spcAft>
                <a:spcPts val="600"/>
              </a:spcAft>
              <a:tabLst>
                <a:tab pos="1035050" algn="l"/>
              </a:tabLst>
            </a:pPr>
            <a:r>
              <a:rPr lang="en-US" dirty="0"/>
              <a:t>Motivation </a:t>
            </a:r>
          </a:p>
          <a:p>
            <a:pPr marL="746125">
              <a:spcAft>
                <a:spcPts val="600"/>
              </a:spcAft>
              <a:tabLst>
                <a:tab pos="1035050" algn="l"/>
              </a:tabLst>
            </a:pPr>
            <a:r>
              <a:rPr lang="en-US" dirty="0"/>
              <a:t>Schedules </a:t>
            </a:r>
          </a:p>
          <a:p>
            <a:pPr marL="746125">
              <a:spcAft>
                <a:spcPts val="600"/>
              </a:spcAft>
              <a:tabLst>
                <a:tab pos="1035050" algn="l"/>
              </a:tabLst>
            </a:pPr>
            <a:r>
              <a:rPr lang="en-US" dirty="0"/>
              <a:t>Visual Supports </a:t>
            </a:r>
          </a:p>
          <a:p>
            <a:pPr marL="746125">
              <a:spcAft>
                <a:spcPts val="600"/>
              </a:spcAft>
              <a:tabLst>
                <a:tab pos="1035050" algn="l"/>
              </a:tabLst>
            </a:pPr>
            <a:r>
              <a:rPr lang="en-US" dirty="0"/>
              <a:t>Prompting </a:t>
            </a:r>
          </a:p>
          <a:p>
            <a:pPr marL="746125">
              <a:spcAft>
                <a:spcPts val="600"/>
              </a:spcAft>
              <a:tabLst>
                <a:tab pos="1035050" algn="l"/>
              </a:tabLst>
            </a:pPr>
            <a:r>
              <a:rPr lang="en-US" dirty="0"/>
              <a:t>And more!</a:t>
            </a:r>
          </a:p>
        </p:txBody>
      </p:sp>
      <p:pic>
        <p:nvPicPr>
          <p:cNvPr id="5" name="Picture 4" descr="Video images on blue showing how to access Home Supports">
            <a:extLst>
              <a:ext uri="{FF2B5EF4-FFF2-40B4-BE49-F238E27FC236}">
                <a16:creationId xmlns:a16="http://schemas.microsoft.com/office/drawing/2014/main" id="{C9D1F35C-918C-46EF-85C1-2E75258205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9463" y="2421566"/>
            <a:ext cx="4724400" cy="3543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813177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512D11-AC68-F899-EB91-B8AD50FFC44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12775" y="1125538"/>
            <a:ext cx="10966450" cy="11811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2743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55A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etting to Know You: Raise Your Hand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378CC3-1995-4D8F-87B5-65BCADFBDC0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marL="457200" indent="-457200">
              <a:spcAft>
                <a:spcPts val="1200"/>
              </a:spcAft>
            </a:pPr>
            <a:r>
              <a:rPr lang="en-US" dirty="0"/>
              <a:t>What age-level do you currently teach? </a:t>
            </a:r>
          </a:p>
          <a:p>
            <a:pPr marL="803275" lvl="1" indent="-457200">
              <a:spcBef>
                <a:spcPts val="0"/>
              </a:spcBef>
              <a:spcAft>
                <a:spcPts val="1200"/>
              </a:spcAft>
              <a:buClr>
                <a:srgbClr val="215AA8"/>
              </a:buClr>
            </a:pPr>
            <a:r>
              <a:rPr lang="en-US" sz="2400" dirty="0"/>
              <a:t>Preschool </a:t>
            </a:r>
          </a:p>
          <a:p>
            <a:pPr marL="803275" lvl="1" indent="-457200">
              <a:spcBef>
                <a:spcPts val="0"/>
              </a:spcBef>
              <a:spcAft>
                <a:spcPts val="1200"/>
              </a:spcAft>
              <a:buClr>
                <a:srgbClr val="215AA8"/>
              </a:buClr>
            </a:pPr>
            <a:r>
              <a:rPr lang="en-US" sz="2400" dirty="0"/>
              <a:t>Elementary </a:t>
            </a:r>
          </a:p>
          <a:p>
            <a:pPr marL="803275" lvl="1" indent="-457200">
              <a:spcBef>
                <a:spcPts val="0"/>
              </a:spcBef>
              <a:spcAft>
                <a:spcPts val="1200"/>
              </a:spcAft>
              <a:buClr>
                <a:srgbClr val="215AA8"/>
              </a:buClr>
            </a:pPr>
            <a:r>
              <a:rPr lang="en-US" sz="2400" dirty="0"/>
              <a:t>Middle School </a:t>
            </a:r>
          </a:p>
          <a:p>
            <a:pPr marL="803275" lvl="1" indent="-457200">
              <a:spcBef>
                <a:spcPts val="0"/>
              </a:spcBef>
              <a:spcAft>
                <a:spcPts val="1200"/>
              </a:spcAft>
              <a:buClr>
                <a:srgbClr val="215AA8"/>
              </a:buClr>
            </a:pPr>
            <a:r>
              <a:rPr lang="en-US" sz="2400" dirty="0"/>
              <a:t>High School </a:t>
            </a:r>
          </a:p>
          <a:p>
            <a:pPr marL="803275" lvl="1" indent="-457200">
              <a:spcBef>
                <a:spcPts val="0"/>
              </a:spcBef>
              <a:spcAft>
                <a:spcPts val="1200"/>
              </a:spcAft>
              <a:buClr>
                <a:srgbClr val="215AA8"/>
              </a:buClr>
            </a:pPr>
            <a:r>
              <a:rPr lang="en-US" sz="2400" dirty="0"/>
              <a:t>Post-Secondary </a:t>
            </a:r>
          </a:p>
          <a:p>
            <a:pPr marL="803275" lvl="1" indent="-457200">
              <a:spcBef>
                <a:spcPts val="0"/>
              </a:spcBef>
              <a:spcAft>
                <a:spcPts val="1200"/>
              </a:spcAft>
              <a:buClr>
                <a:srgbClr val="215AA8"/>
              </a:buClr>
            </a:pPr>
            <a:r>
              <a:rPr lang="en-US" sz="2400" dirty="0"/>
              <a:t>Other </a:t>
            </a:r>
          </a:p>
        </p:txBody>
      </p:sp>
    </p:spTree>
    <p:extLst>
      <p:ext uri="{BB962C8B-B14F-4D97-AF65-F5344CB8AC3E}">
        <p14:creationId xmlns:p14="http://schemas.microsoft.com/office/powerpoint/2010/main" val="344565345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0CB83F-D081-A85F-544B-EB0E1AB0A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joining us! </a:t>
            </a:r>
          </a:p>
        </p:txBody>
      </p:sp>
      <p:pic>
        <p:nvPicPr>
          <p:cNvPr id="5" name="Picture 4" descr="A qr code to scan for newsletter sign up">
            <a:hlinkClick r:id="rId3"/>
            <a:extLst>
              <a:ext uri="{FF2B5EF4-FFF2-40B4-BE49-F238E27FC236}">
                <a16:creationId xmlns:a16="http://schemas.microsoft.com/office/drawing/2014/main" id="{D0A3B9AF-C1C4-2453-97AD-27AF5AA07A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888" y="2590203"/>
            <a:ext cx="3057341" cy="35210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F343F9C-731B-C64C-0B34-249271456807}"/>
              </a:ext>
            </a:extLst>
          </p:cNvPr>
          <p:cNvSpPr txBox="1"/>
          <p:nvPr/>
        </p:nvSpPr>
        <p:spPr>
          <a:xfrm>
            <a:off x="3718559" y="2740627"/>
            <a:ext cx="4836717" cy="27392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 b="1" dirty="0">
                <a:solidFill>
                  <a:srgbClr val="0055A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stions?</a:t>
            </a:r>
          </a:p>
          <a:p>
            <a:pPr algn="ctr"/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sit our website: 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www.starautismsupport.com</a:t>
            </a:r>
          </a:p>
          <a:p>
            <a:pPr algn="ctr"/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mail:</a:t>
            </a:r>
            <a:b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6"/>
              </a:rPr>
              <a:t>information@starautismsupport.com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 descr="A qr code with blue text saying contact us ">
            <a:extLst>
              <a:ext uri="{FF2B5EF4-FFF2-40B4-BE49-F238E27FC236}">
                <a16:creationId xmlns:a16="http://schemas.microsoft.com/office/drawing/2014/main" id="{BCFF198B-C134-ABF0-67F3-1DE905183E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4771" y="2590203"/>
            <a:ext cx="3057341" cy="3521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60468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EAF98-61FB-D0F0-116E-F9D557D5C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89" y="1142063"/>
            <a:ext cx="10978994" cy="515287"/>
          </a:xfrm>
        </p:spPr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BF561B-B9CA-CE01-27BF-B8B83BB685B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29685" y="1704975"/>
            <a:ext cx="11261798" cy="4991100"/>
          </a:xfrm>
        </p:spPr>
        <p:txBody>
          <a:bodyPr vert="horz" lIns="274320" tIns="45720" rIns="45720" bIns="45720" rtlCol="0" anchor="t">
            <a:noAutofit/>
          </a:bodyPr>
          <a:lstStyle/>
          <a:p>
            <a:r>
              <a:rPr lang="en-US" sz="2200" dirty="0" err="1">
                <a:solidFill>
                  <a:srgbClr val="222222"/>
                </a:solidFill>
                <a:ea typeface="Calibri"/>
              </a:rPr>
              <a:t>Brainspring</a:t>
            </a:r>
            <a:r>
              <a:rPr lang="en-US" sz="2200" dirty="0">
                <a:solidFill>
                  <a:srgbClr val="222222"/>
                </a:solidFill>
                <a:ea typeface="Calibri"/>
              </a:rPr>
              <a:t> Publications. (2020). </a:t>
            </a:r>
            <a:r>
              <a:rPr lang="en-US" sz="2200" i="1" dirty="0">
                <a:solidFill>
                  <a:srgbClr val="222222"/>
                </a:solidFill>
                <a:ea typeface="Calibri"/>
                <a:hlinkClick r:id="rId3"/>
              </a:rPr>
              <a:t>Scarborough’s reading rope</a:t>
            </a:r>
            <a:r>
              <a:rPr lang="en-US" sz="2200" dirty="0">
                <a:solidFill>
                  <a:srgbClr val="222222"/>
                </a:solidFill>
                <a:ea typeface="Calibri"/>
              </a:rPr>
              <a:t>. https://brainspring.com/content/blog-files/Scarboroughs-Reading-Rope-rgb-G1-102-UNI-032422.jpg </a:t>
            </a:r>
          </a:p>
          <a:p>
            <a:r>
              <a:rPr lang="en-US" sz="2200" dirty="0">
                <a:solidFill>
                  <a:srgbClr val="222222"/>
                </a:solidFill>
                <a:ea typeface="Calibri"/>
              </a:rPr>
              <a:t>Browder, D. M., Wood, L., Thompson, J., &amp; </a:t>
            </a:r>
            <a:r>
              <a:rPr lang="en-US" sz="2200" dirty="0" err="1">
                <a:solidFill>
                  <a:srgbClr val="222222"/>
                </a:solidFill>
                <a:ea typeface="Calibri"/>
              </a:rPr>
              <a:t>Ribuffo</a:t>
            </a:r>
            <a:r>
              <a:rPr lang="en-US" sz="2200" dirty="0">
                <a:solidFill>
                  <a:srgbClr val="222222"/>
                </a:solidFill>
                <a:ea typeface="Calibri"/>
              </a:rPr>
              <a:t>, C. (2014). Evidence-based practices for students with severe disabilities. </a:t>
            </a:r>
            <a:r>
              <a:rPr lang="en-US" sz="2200" i="1" dirty="0" err="1">
                <a:solidFill>
                  <a:srgbClr val="222222"/>
                </a:solidFill>
                <a:ea typeface="Calibri"/>
              </a:rPr>
              <a:t>Ceedar</a:t>
            </a:r>
            <a:r>
              <a:rPr lang="en-US" sz="2200" i="1" dirty="0">
                <a:solidFill>
                  <a:srgbClr val="222222"/>
                </a:solidFill>
                <a:ea typeface="Calibri"/>
              </a:rPr>
              <a:t> Document NO. IC-3. </a:t>
            </a:r>
            <a:r>
              <a:rPr lang="en-US" sz="2200" i="1" dirty="0" err="1">
                <a:solidFill>
                  <a:srgbClr val="222222"/>
                </a:solidFill>
                <a:ea typeface="Calibri"/>
              </a:rPr>
              <a:t>Ceedar</a:t>
            </a:r>
            <a:r>
              <a:rPr lang="en-US" sz="2200" i="1" dirty="0">
                <a:solidFill>
                  <a:srgbClr val="222222"/>
                </a:solidFill>
                <a:ea typeface="Calibri"/>
              </a:rPr>
              <a:t> Center</a:t>
            </a:r>
            <a:r>
              <a:rPr lang="en-US" sz="2200" dirty="0">
                <a:solidFill>
                  <a:srgbClr val="222222"/>
                </a:solidFill>
                <a:ea typeface="Calibri"/>
              </a:rPr>
              <a:t>.</a:t>
            </a:r>
          </a:p>
          <a:p>
            <a:r>
              <a:rPr lang="en-US" sz="2200" b="0" i="0" dirty="0">
                <a:solidFill>
                  <a:srgbClr val="222222"/>
                </a:solidFill>
                <a:effectLst/>
                <a:ea typeface="Calibri" panose="020F0502020204030204" pitchFamily="34" charset="0"/>
              </a:rPr>
              <a:t>Scarborough, H. S., Neuman, S., &amp; Dickinson, D. (2009). Connecting early language and literacy to later reading (dis) abilities: Evidence, theory, and practice. </a:t>
            </a:r>
            <a:r>
              <a:rPr lang="en-US" sz="2200" b="0" i="1" dirty="0">
                <a:solidFill>
                  <a:srgbClr val="222222"/>
                </a:solidFill>
                <a:effectLst/>
                <a:ea typeface="Calibri" panose="020F0502020204030204" pitchFamily="34" charset="0"/>
              </a:rPr>
              <a:t>Approaching difficulties in literacy development: Assessment, pedagogy and </a:t>
            </a:r>
            <a:r>
              <a:rPr lang="en-US" sz="2200" b="0" i="1" dirty="0" err="1">
                <a:solidFill>
                  <a:srgbClr val="222222"/>
                </a:solidFill>
                <a:effectLst/>
                <a:ea typeface="Calibri" panose="020F0502020204030204" pitchFamily="34" charset="0"/>
              </a:rPr>
              <a:t>programmes</a:t>
            </a:r>
            <a:r>
              <a:rPr lang="en-US" sz="2200" b="0" i="0" dirty="0">
                <a:solidFill>
                  <a:srgbClr val="222222"/>
                </a:solidFill>
                <a:effectLst/>
                <a:ea typeface="Calibri" panose="020F0502020204030204" pitchFamily="34" charset="0"/>
              </a:rPr>
              <a:t>, </a:t>
            </a:r>
            <a:r>
              <a:rPr lang="en-US" sz="2200" b="0" i="1" dirty="0">
                <a:solidFill>
                  <a:srgbClr val="222222"/>
                </a:solidFill>
                <a:effectLst/>
                <a:ea typeface="Calibri" panose="020F0502020204030204" pitchFamily="34" charset="0"/>
              </a:rPr>
              <a:t>10</a:t>
            </a:r>
            <a:r>
              <a:rPr lang="en-US" sz="2200" b="0" i="0" dirty="0">
                <a:solidFill>
                  <a:srgbClr val="222222"/>
                </a:solidFill>
                <a:effectLst/>
                <a:ea typeface="Calibri" panose="020F0502020204030204" pitchFamily="34" charset="0"/>
              </a:rPr>
              <a:t>, 23-38.</a:t>
            </a:r>
            <a:endParaRPr lang="en-US" sz="2200" dirty="0">
              <a:solidFill>
                <a:srgbClr val="222222"/>
              </a:solidFill>
              <a:ea typeface="Calibri" panose="020F0502020204030204" pitchFamily="34" charset="0"/>
            </a:endParaRPr>
          </a:p>
          <a:p>
            <a:r>
              <a:rPr lang="en-US" sz="2200" dirty="0">
                <a:solidFill>
                  <a:srgbClr val="222222"/>
                </a:solidFill>
                <a:ea typeface="Calibri"/>
              </a:rPr>
              <a:t>Teaching Strategies. (2025, April 7). </a:t>
            </a:r>
            <a:r>
              <a:rPr lang="en-US" sz="2200" i="1" dirty="0">
                <a:solidFill>
                  <a:srgbClr val="222222"/>
                </a:solidFill>
                <a:ea typeface="Calibri"/>
                <a:hlinkClick r:id="rId4"/>
              </a:rPr>
              <a:t>Science of Reading in early childhood classrooms: 6-part webinar</a:t>
            </a:r>
            <a:r>
              <a:rPr lang="en-US" sz="2200" i="1" dirty="0">
                <a:solidFill>
                  <a:srgbClr val="222222"/>
                </a:solidFill>
                <a:ea typeface="Calibri"/>
              </a:rPr>
              <a:t>.</a:t>
            </a:r>
            <a:r>
              <a:rPr lang="en-US" sz="2200" dirty="0">
                <a:solidFill>
                  <a:srgbClr val="222222"/>
                </a:solidFill>
                <a:ea typeface="Calibri"/>
              </a:rPr>
              <a:t> </a:t>
            </a:r>
            <a:r>
              <a:rPr lang="en-US" sz="2200" dirty="0">
                <a:solidFill>
                  <a:srgbClr val="222222"/>
                </a:solidFill>
                <a:ea typeface="Calibri"/>
                <a:cs typeface="Calibri"/>
              </a:rPr>
              <a:t>https://teachingstrategies.com/solution/science-of-reading/ </a:t>
            </a:r>
            <a:endParaRPr lang="en-US" sz="2200" dirty="0">
              <a:solidFill>
                <a:srgbClr val="222222"/>
              </a:solidFill>
              <a:ea typeface="Calibri"/>
            </a:endParaRPr>
          </a:p>
          <a:p>
            <a:r>
              <a:rPr lang="en-US" sz="2200" dirty="0">
                <a:solidFill>
                  <a:srgbClr val="000000"/>
                </a:solidFill>
                <a:ea typeface="Calibri"/>
                <a:cs typeface="Calibri"/>
              </a:rPr>
              <a:t>Wong, C., Odom, S. L., &amp; Hume, K. A. (2015). Evidence-based practices for children, youth, and young adults with autism spectrum disorder: A comprehensive review. </a:t>
            </a:r>
            <a:r>
              <a:rPr lang="en-US" sz="2200" i="1" dirty="0">
                <a:solidFill>
                  <a:srgbClr val="000000"/>
                </a:solidFill>
                <a:ea typeface="Calibri"/>
                <a:cs typeface="Calibri"/>
                <a:hlinkClick r:id="rId5"/>
              </a:rPr>
              <a:t>Journal of Autism and Developmental Disorders</a:t>
            </a:r>
            <a:r>
              <a:rPr lang="en-US" sz="2200" dirty="0">
                <a:solidFill>
                  <a:srgbClr val="000000"/>
                </a:solidFill>
                <a:ea typeface="Calibri"/>
                <a:cs typeface="Calibri"/>
              </a:rPr>
              <a:t>, </a:t>
            </a:r>
            <a:r>
              <a:rPr lang="en-US" sz="2200" i="1" dirty="0">
                <a:solidFill>
                  <a:srgbClr val="000000"/>
                </a:solidFill>
                <a:ea typeface="Calibri"/>
                <a:cs typeface="Calibri"/>
              </a:rPr>
              <a:t>45</a:t>
            </a:r>
            <a:r>
              <a:rPr lang="en-US" sz="2200" dirty="0">
                <a:solidFill>
                  <a:srgbClr val="000000"/>
                </a:solidFill>
                <a:ea typeface="Calibri"/>
                <a:cs typeface="Calibri"/>
              </a:rPr>
              <a:t>(7), 1951–1966. </a:t>
            </a:r>
            <a:r>
              <a:rPr lang="en-US" sz="2200" dirty="0">
                <a:solidFill>
                  <a:srgbClr val="222222"/>
                </a:solidFill>
                <a:ea typeface="Calibri"/>
                <a:cs typeface="Calibri"/>
              </a:rPr>
              <a:t>https://doi.org/10.1007/s10803-014-2351-z</a:t>
            </a:r>
            <a:r>
              <a:rPr lang="en-US" sz="2200" dirty="0">
                <a:solidFill>
                  <a:srgbClr val="000000"/>
                </a:solidFill>
                <a:ea typeface="Calibri"/>
                <a:cs typeface="Calibri"/>
              </a:rPr>
              <a:t> </a:t>
            </a:r>
            <a:endParaRPr lang="en-US" sz="2200" dirty="0">
              <a:solidFill>
                <a:srgbClr val="222222"/>
              </a:solidFill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520132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D0E65-9BDF-1CD7-AAD8-BAC375C18F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6868" y="2324101"/>
            <a:ext cx="11000232" cy="1104900"/>
          </a:xfrm>
        </p:spPr>
        <p:txBody>
          <a:bodyPr/>
          <a:lstStyle/>
          <a:p>
            <a:r>
              <a:rPr lang="en-US" dirty="0"/>
              <a:t>Charting the Cs Conference 2025</a:t>
            </a:r>
            <a:endParaRPr lang="en-US" i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650A0A-0A9F-CB57-030F-744F8593EB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6425" y="3429001"/>
            <a:ext cx="11001375" cy="2285999"/>
          </a:xfrm>
        </p:spPr>
        <p:txBody>
          <a:bodyPr/>
          <a:lstStyle/>
          <a:p>
            <a:pPr algn="l"/>
            <a:r>
              <a:rPr lang="en-US" dirty="0"/>
              <a:t>Statewide Professional Development to Support the Workforce and Low Incidence Disability Areas in the State of Minnesota. </a:t>
            </a:r>
          </a:p>
          <a:p>
            <a:pPr algn="l"/>
            <a:r>
              <a:rPr lang="en-US" dirty="0"/>
              <a:t>This presentation is partially funded with a grant from the Minnesota Department of Education using federal funding, CFDA 84.027A, Special Education – Grants to States. </a:t>
            </a:r>
          </a:p>
        </p:txBody>
      </p:sp>
      <p:pic>
        <p:nvPicPr>
          <p:cNvPr id="6" name="Picture Placeholder 3" descr="Charting the Cs logo with black and blue text">
            <a:extLst>
              <a:ext uri="{FF2B5EF4-FFF2-40B4-BE49-F238E27FC236}">
                <a16:creationId xmlns:a16="http://schemas.microsoft.com/office/drawing/2014/main" id="{C813591B-90CF-DAEC-9A27-10F8EF603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4665319" y="1711189"/>
            <a:ext cx="2882435" cy="60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4857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2E5EE91-3AF1-6C5F-D905-193BD614759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What brings you to this presentation? I am a/an . . . </a:t>
            </a:r>
          </a:p>
          <a:p>
            <a:pPr lvl="1"/>
            <a:r>
              <a:rPr lang="en-US" sz="2400" dirty="0"/>
              <a:t>Student in the field of education </a:t>
            </a:r>
          </a:p>
          <a:p>
            <a:pPr lvl="1"/>
            <a:r>
              <a:rPr lang="en-US" sz="2400" dirty="0"/>
              <a:t>Educator </a:t>
            </a:r>
          </a:p>
          <a:p>
            <a:pPr lvl="1"/>
            <a:r>
              <a:rPr lang="en-US" sz="2400" dirty="0"/>
              <a:t>Administrator </a:t>
            </a:r>
          </a:p>
          <a:p>
            <a:pPr lvl="1"/>
            <a:r>
              <a:rPr lang="en-US" sz="2400" dirty="0"/>
              <a:t>Paren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399D4A-D953-EA51-79FC-2E2428AD2C6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0075" y="1125538"/>
            <a:ext cx="10966450" cy="11811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2743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55A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etting to Know You: Raise Your Hand! </a:t>
            </a:r>
          </a:p>
        </p:txBody>
      </p:sp>
    </p:spTree>
    <p:extLst>
      <p:ext uri="{BB962C8B-B14F-4D97-AF65-F5344CB8AC3E}">
        <p14:creationId xmlns:p14="http://schemas.microsoft.com/office/powerpoint/2010/main" val="21396256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696634-842A-8FC3-7E71-77C5C8A122D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0075" y="1125538"/>
            <a:ext cx="10966450" cy="11811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2743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55A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etting to Know You: Use Your Fingers!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E218A8B-5282-1A77-7669-5E9C5D79657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pPr marL="457200" indent="-457200">
              <a:spcAft>
                <a:spcPts val="1200"/>
              </a:spcAft>
            </a:pPr>
            <a:r>
              <a:rPr lang="en-US" dirty="0"/>
              <a:t>How familiar are you with our products? The STAR Program, Links Curriculum or SOLER</a:t>
            </a:r>
          </a:p>
          <a:p>
            <a:pPr marL="803275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215AA8"/>
              </a:buClr>
            </a:pPr>
            <a:r>
              <a:rPr lang="en-US" sz="2400" dirty="0"/>
              <a:t>Show 1 – I haven’t heard if any of these tools! </a:t>
            </a:r>
          </a:p>
          <a:p>
            <a:pPr marL="803275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215AA8"/>
              </a:buClr>
            </a:pPr>
            <a:r>
              <a:rPr lang="en-US" sz="2400" dirty="0"/>
              <a:t>Show 2 – I have some experience, but it’s been a while! </a:t>
            </a:r>
          </a:p>
          <a:p>
            <a:pPr marL="803275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215AA8"/>
              </a:buClr>
            </a:pPr>
            <a:r>
              <a:rPr lang="en-US" sz="2400" dirty="0"/>
              <a:t>Show 3 – I use STAR, Links or SOLER in my district, and I am looking for more in-depth info! </a:t>
            </a:r>
          </a:p>
        </p:txBody>
      </p:sp>
    </p:spTree>
    <p:extLst>
      <p:ext uri="{BB962C8B-B14F-4D97-AF65-F5344CB8AC3E}">
        <p14:creationId xmlns:p14="http://schemas.microsoft.com/office/powerpoint/2010/main" val="501378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48FFD0-3460-0D9D-F731-292A79AE8DE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0075" y="1125538"/>
            <a:ext cx="10966450" cy="11811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2743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55A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als for Toda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263D13B-4C33-7442-C35A-CCF340AFE3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iscuss the benefits of using a </a:t>
            </a:r>
            <a:r>
              <a:rPr lang="en-US" b="1" dirty="0"/>
              <a:t>comprehensive curriculum</a:t>
            </a:r>
            <a:r>
              <a:rPr lang="en-US" dirty="0"/>
              <a:t> to teach acquisition of reading skills to students with significant learning challenges. </a:t>
            </a:r>
          </a:p>
          <a:p>
            <a:r>
              <a:rPr lang="en-US" dirty="0"/>
              <a:t>Review </a:t>
            </a:r>
            <a:r>
              <a:rPr lang="en-US" b="1" dirty="0"/>
              <a:t>tools</a:t>
            </a:r>
            <a:r>
              <a:rPr lang="en-US" dirty="0"/>
              <a:t> for aligning reading lessons to IEPs and state standards. </a:t>
            </a:r>
          </a:p>
          <a:p>
            <a:r>
              <a:rPr lang="en-US" dirty="0"/>
              <a:t>Provide examples of </a:t>
            </a:r>
            <a:r>
              <a:rPr lang="en-US" b="1" dirty="0"/>
              <a:t>digital and printable reading tools </a:t>
            </a:r>
            <a:r>
              <a:rPr lang="en-US" dirty="0"/>
              <a:t>that aligned to state standards and can be used with a variety of learners!</a:t>
            </a:r>
          </a:p>
        </p:txBody>
      </p:sp>
    </p:spTree>
    <p:extLst>
      <p:ext uri="{BB962C8B-B14F-4D97-AF65-F5344CB8AC3E}">
        <p14:creationId xmlns:p14="http://schemas.microsoft.com/office/powerpoint/2010/main" val="1274367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55530-1302-69CE-9ED7-E51AD6AAD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Teaching Reading or Pre-Reading Skills </a:t>
            </a:r>
          </a:p>
        </p:txBody>
      </p:sp>
      <p:pic>
        <p:nvPicPr>
          <p:cNvPr id="5" name="Picture Placeholder 8" descr="Headphones and a pencil on a green board in a special education classroom&#10;">
            <a:extLst>
              <a:ext uri="{FF2B5EF4-FFF2-40B4-BE49-F238E27FC236}">
                <a16:creationId xmlns:a16="http://schemas.microsoft.com/office/drawing/2014/main" id="{9C32F37F-02C9-5368-837F-6A8F8E864C5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19" r="10519"/>
          <a:stretch>
            <a:fillRect/>
          </a:stretch>
        </p:blipFill>
        <p:spPr>
          <a:xfrm>
            <a:off x="835025" y="2495550"/>
            <a:ext cx="4356100" cy="3679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EF435F-7A8D-DDC1-34C9-95B84A34A5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10956" y="2495550"/>
            <a:ext cx="5664764" cy="4088795"/>
          </a:xfrm>
        </p:spPr>
        <p:txBody>
          <a:bodyPr/>
          <a:lstStyle/>
          <a:p>
            <a:r>
              <a:rPr lang="en-US" b="1" dirty="0"/>
              <a:t>Diverse learner needs </a:t>
            </a:r>
            <a:r>
              <a:rPr lang="en-US" dirty="0"/>
              <a:t>in one classroom</a:t>
            </a:r>
          </a:p>
          <a:p>
            <a:r>
              <a:rPr lang="en-US" dirty="0"/>
              <a:t>Language and </a:t>
            </a:r>
            <a:r>
              <a:rPr lang="en-US" b="1" dirty="0"/>
              <a:t>communication </a:t>
            </a:r>
            <a:r>
              <a:rPr lang="en-US" dirty="0"/>
              <a:t>deficits affect instruction </a:t>
            </a:r>
          </a:p>
          <a:p>
            <a:r>
              <a:rPr lang="en-US" b="1" dirty="0"/>
              <a:t>Attention</a:t>
            </a:r>
            <a:r>
              <a:rPr lang="en-US" dirty="0"/>
              <a:t> to task and </a:t>
            </a:r>
            <a:r>
              <a:rPr lang="en-US" b="1" dirty="0"/>
              <a:t>behavior </a:t>
            </a:r>
            <a:r>
              <a:rPr lang="en-US" dirty="0"/>
              <a:t>issues disrupt learning small group learning </a:t>
            </a:r>
          </a:p>
          <a:p>
            <a:r>
              <a:rPr lang="en-US" b="1" dirty="0"/>
              <a:t>Lack of resources </a:t>
            </a:r>
            <a:r>
              <a:rPr lang="en-US" dirty="0"/>
              <a:t>for reading or pre-reading skills </a:t>
            </a:r>
          </a:p>
          <a:p>
            <a:r>
              <a:rPr lang="en-US" b="1" dirty="0"/>
              <a:t>Foundational gaps </a:t>
            </a:r>
            <a:r>
              <a:rPr lang="en-US" dirty="0"/>
              <a:t>in early literacy skills </a:t>
            </a:r>
          </a:p>
          <a:p>
            <a:pPr marL="0" indent="0" algn="ctr">
              <a:spcBef>
                <a:spcPts val="1200"/>
              </a:spcBef>
              <a:buNone/>
            </a:pPr>
            <a:r>
              <a:rPr lang="en-US" sz="2400" b="1" dirty="0">
                <a:solidFill>
                  <a:srgbClr val="0055A5"/>
                </a:solidFill>
              </a:rPr>
              <a:t>What else do you experience? </a:t>
            </a:r>
          </a:p>
        </p:txBody>
      </p:sp>
    </p:spTree>
    <p:extLst>
      <p:ext uri="{BB962C8B-B14F-4D97-AF65-F5344CB8AC3E}">
        <p14:creationId xmlns:p14="http://schemas.microsoft.com/office/powerpoint/2010/main" val="169333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CC"/>
      </a:hlink>
      <a:folHlink>
        <a:srgbClr val="954F7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And_Google_SampleTemplate_Cs2025" id="{51097113-0BD2-43A7-BFC0-E5456AFE1B8C}" vid="{8B9BDD88-C4AB-4113-9F2D-652B01B84CB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C0E1BE2F-C0E6-443F-9133-3D027E80EAB6}">
  <we:reference id="wa104381702" version="1.5.0.0" store="en-US" storeType="OMEX"/>
  <we:alternateReferences>
    <we:reference id="WA104381702" version="1.5.0.0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AW xmlns="http://www.net-centric.com/PAWPP">
  <Shape xmlns="" ID="zf/dxpohcogth7NBObSYow1Z1V0=" isBookmarkSet="no" pdftag="H1" artifact="_x0030_" bookmark="yes" Order="_x0031_"/>
  <Shape xmlns="" ID="9AU6a/Qlm4CO+IZYS/72vXBOyHA=" pdftag="Figure" isBookmarkSet="no" formula="no" inline="no" bookmark="no" Lang="" artifact="_x0030_" Order="_x0034_" validate="no"/>
  <Shape xmlns="" ID="YMFHkH2RfjZzbY3B+fK8VcrOaOo=" pdftag="P" isBookmarkSet="no" bookmark="no" Order="_x0035_"/>
  <Shape xmlns="" ID="P6E8H8dXHH2lngReuOcfTL3ESlk=" pdftag="P" isBookmarkSet="no" bookmark="no" Order="_x0032_"/>
  <Shape xmlns="" ID="v7YahT+vY6flX2g9Z0IuJIWyULA=" pdftag="Figure" isBookmarkSet="no" bookmark="no" formula="no" Lang="" inline="no" artifact="_x0030_" Order="_x0033_" validate="no"/>
  <Shape xmlns="" ID="ZUK3P0vq1kyHMBtaP+GB8/hLUTw=" pdftag="H2" isBookmarkSet="no" bookmark="yes" Order="_x0031_"/>
  <Shape xmlns="" ID="Pjn9uoeXZqaGb2UNCNqiqwyGLVg=" pdftag="P" isBookmarkSet="no" bookmark="no" Order="_x0032_"/>
  <Shape xmlns="" ID="A5kLUICyDT4H0R0YkKEim0gLLWo=" formula="no" pdftag="Figure" isBookmarkSet="no" bookmark="no" Lang="" artifact="_x0030_" inline="no" Order="_x0033_" validate="no"/>
  <Shape xmlns="" ID="Jl7UUhjVgCI8MeVBtgRStrcZ3Pg=" pdftag="H2" isBookmarkSet="no" bookmark="yes" Order="_x0031_"/>
  <Shape xmlns="" ID="BVoGAhmHvwWNs0aG+oVgATYd7S8=" artifact="_x0030_" formula="no" pdftag="Figure" isBookmarkSet="no" bookmark="no" Lang="" Order="_x0032_" validate="no"/>
  <Shape xmlns="" ID="Brf6leWPTcnKTlJJVW2y72ZnWIE=" pdftag="P" isBookmarkSet="no" bookmark="no" Order="_x0033_"/>
  <Shape xmlns="" ID="RUFHQilWFLP6Hq85eOBP7sfTcFs=" Order="_x0032_" artifact="_x0031_" isBookmarkSet="no" bookmark="no" pdftag="_x005B_Artifact_x005D_" validate="no"/>
  <Shape xmlns="" ID="lMyPi20iifcs0SdD0eUJlgwm02g=" Order="_x0033_" artifact="_x0031_" isBookmarkSet="no" bookmark="no" pdftag="_x005B_Artifact_x005D_" validate="no"/>
  <Shape xmlns="" ID="/1M5XbYxX/ARUAHwVsGdkkLfpvc=" Order="_x0034_" artifact="_x0031_" isBookmarkSet="no" bookmark="no" pdftag="_x005B_Artifact_x005D_" validate="no"/>
  <Shape xmlns="" ID="X4j4L0lB0/G/nG8o8So2UaU/Kcg=" Order="_x0031_" pdftag="H2" isBookmarkSet="no" bookmark="yes"/>
  <Shape xmlns="" ID="PjGk44uhZcoyW4mKMPP/oSxvBxc=" pdftag="P" isBookmarkSet="no" bookmark="no" Order="_x0032_"/>
  <Shape xmlns="" ID="5D1CYSzdZnbTM2OCecWRF6ziOyg=" pdftag="P" isBookmarkSet="no" bookmark="no" Order="_x0034_"/>
  <Shape xmlns="" ID="Ofr2pzAHZJINmdr50NFbUAo2WPU=" pdftag="P" isBookmarkSet="no" bookmark="no" Order="_x0036_"/>
  <Shape xmlns="" ID="bhbFYsTRzPGEj/8QoQ060JPwuEc=" pdftag="Figure" artifact="_x0031_" isBookmarkSet="no" bookmark="no" Lang="" Order="_x0033_" validate="no"/>
  <Shape xmlns="" ID="y6REyIU5LE3yhvUUS8OXn5FrA34=" pdftag="Figure" artifact="_x0031_" isBookmarkSet="no" bookmark="no" Lang="" Order="_x0035_" validate="no"/>
  <Shape xmlns="" ID="mA0Q9pDA6ygwjBjIiy0fUIioZfQ=" pdftag="H2" artifact="_x0030_" isBookmarkSet="yes" bookmark="yes" Order="_x0031_"/>
  <Shape xmlns="" ID="xKymQQB4dbBFa0HQatXAV571qAw=" pdftag="P" isBookmarkSet="no" bookmark="no" Order="_x0032_"/>
  <Shape xmlns="" ID="aleE2+rGKsPthOucxeoofNjLEIU=" pdftag="P" isBookmarkSet="no" bookmark="no" Order="_x0032_"/>
  <Shape xmlns="" ID="7c/7QmR0P3i87gurnNV5wvxw3ek=" pdftag="H2" artifact="_x0030_" isBookmarkSet="yes" bookmark="yes" Order="_x0031_"/>
  <Shape xmlns="" ID="l4OvqCs7WdRNJoKR4IsEJys2tKM=" isBookmarkSet="yes" bookmark="yes" pdftag="H2" artifact="_x0030_" Order="_x0031_"/>
  <Shape xmlns="" ID="FaXNMCq7wvWEC7MAuMZjBWJqEMo=" pdftag="P" isBookmarkSet="no" bookmark="no" Order="_x0032_"/>
  <Shape xmlns="" ID="CspxOZWTC5jkO1GQNk458pAWtzM=" isBookmarkSet="yes" bookmark="yes" pdftag="H2" artifact="_x0030_" Order="_x0031_"/>
  <Shape xmlns="" ID="JkhZfrLFBpstJfSBZPfDIZ8Bz8o=" pdftag="P" isBookmarkSet="no" bookmark="no" Order="_x0032_"/>
  <Shape xmlns="" ID="pmpi9/YjBaLgnOG/5jcZ1Cqmd6w=" pdftag="H2" isBookmarkSet="no" bookmark="yes" Order="_x0031_"/>
  <Shape xmlns="" ID="tsWtShgJHPoIKfwK+xFoiGsUxyI=" artifact="_x0030_" formula="no" pdftag="Figure" isBookmarkSet="no" bookmark="no" Lang="" Order="_x0032_" validate="no"/>
  <Shape xmlns="" ID="yfzOH+vBwGDmsfXces+nYwEfZP0=" pdftag="P" isBookmarkSet="no" bookmark="no" Order="_x0033_"/>
  <Shape xmlns="" ID="2d4I2yvGswROCjEfd5xR1XoaEXs=" Order="_x0034_" pdftag="P" artifact="_x0030_" isBookmarkSet="yes" bookmark="no"/>
  <Shape xmlns="" ID="0YxyOz/X4vFDjBHSvgGJwAAEAN8=" pdftag="H2" isBookmarkSet="no" bookmark="yes" Order="_x0031_"/>
  <Shape xmlns="" ID="bqOH31W+TtVc/eYc6PDObc1YX40=" isBookmarkSet="no" pdftag="H3" artifact="_x0030_" Order="_x0031_" bookmark="yes"/>
  <Shape xmlns="" ID="PZG5ZWI3O8c3Qkp9BxYKqkpTgKA=" pdftag="P" isBookmarkSet="no" bookmark="no" Order="_x0032_"/>
  <Shape xmlns="" ID="AfQG0BeoN77AJXbAroVemsGyBaY=" pdftag="P" isBookmarkSet="no" bookmark="no" Order="_x0033_"/>
  <Shape xmlns="" ID="BKRSlJtRdD0FUruppX4e5fDgtOU=" pdftag="P" isBookmarkSet="no" bookmark="no" Order="_x0035_"/>
  <Shape xmlns="" ID="2s91bmy5VbZDivWe5XPyNtL80rM=" pdftag="P" isBookmarkSet="no" bookmark="no" Order="_x0038_"/>
  <Shape xmlns="" ID="7mpvj1BWgouqpQugwL5Y2mnZGrw=" artifact="_x0030_" formula="no" pdftag="Figure" isBookmarkSet="no" bookmark="no" Lang="" Order="_x0034_" validate="no"/>
  <Shape xmlns="" ID="NqYx3meWRLOvoVqaTz36vKtDXOA=" artifact="_x0030_" formula="no" pdftag="Figure" isBookmarkSet="no" bookmark="no" Lang="" Order="_x0036_" validate="no"/>
  <Shape xmlns="" ID="1zOz/BjeVS2UGKkkt/d9GR38VA0=" artifact="_x0030_" formula="no" pdftag="Figure" isBookmarkSet="no" bookmark="no" Lang="" Order="_x0037_" validate="no"/>
  <Shape xmlns="" ID="o6tu934BPZre8RZBCf5LKkEr6qw=" artifact="_x0030_" formula="no" pdftag="Figure" isBookmarkSet="no" bookmark="no" Lang="" Order="_x0039_" validate="no"/>
  <Shape xmlns="" ID="YPrlvqrv0/cKIo0u6bWymgVq/Ls=" Order="_x0031_" isBookmarkSet="no" bookmark="yes" pdftag="H3" artifact="_x0030_"/>
  <Shape xmlns="" ID="GAs3Gvf6tD343DoCVLAhCwotgM8=" Order="_x0033_" pdftag="P" isBookmarkSet="no" bookmark="no"/>
  <Shape xmlns="" ID="Cc49P03DKA7AMEKb9AeyNFYwuZA=" Order="_x0032_" artifact="_x0030_" formula="no" pdftag="Figure" validate="yes" isBookmarkSet="no" bookmark="no"/>
  <Shape xmlns="" ID="Y147nC4Y+ttCVP26SAnnWhRjbgg=" Order="_x0034_" artifact="_x0030_" formula="no" pdftag="Figure" validate="yes" isBookmarkSet="no" bookmark="no"/>
  <Shape xmlns="" ID="iBYPzcaDfR7t1BmG6kBm0fifiio=" Order="_x0035_" pdftag="P" isBookmarkSet="no" bookmark="no"/>
  <Shape xmlns="" ID="2qjfPmPj9Wm0gxTOT++7VhW2B7E=" isBookmarkSet="no" pdftag="H3" artifact="_x0030_" bookmark="yes" Order="_x0031_"/>
  <Shape xmlns="" ID="dKYWczKijFdpDo3L6bNC5UiQqHc=" pdftag="P" isBookmarkSet="no" bookmark="no" Order="_x0032_"/>
  <Shape xmlns="" ID="9jo88K/FdmTCKIRR5owrFfOd6ZM=" artifact="_x0030_" formula="no" pdftag="Figure" isBookmarkSet="no" bookmark="no" Lang="" Order="_x0033_" validate="no"/>
  <Shape xmlns="" ID="glZLKFFjg/x9rZ96BnmPwEBID1E=" artifact="_x0030_" formula="no" pdftag="Figure" isBookmarkSet="no" bookmark="no" Lang="" Order="_x0034_" validate="no"/>
  <Shape xmlns="" ID="t5FxMtRIYc45oQFoxpIAq9Cx5rI=" pdftag="P" isBookmarkSet="no" bookmark="no" Order="_x0035_"/>
  <Shape xmlns="" ID="R/PR3DnW/rY/DLL91dIfewT2PYI=" isBookmarkSet="no" pdftag="H3" artifact="_x0030_" bookmark="yes" Order="_x0031_"/>
  <Shape xmlns="" ID="olsgjzsJzK830nRlRNHJkrARjcU=" artifact="_x0030_" formula="no" pdftag="Figure" isBookmarkSet="no" bookmark="no" Lang="" Order="_x0032_" validate="no"/>
  <Shape xmlns="" ID="Ia2n4DDSezxtGGGr9YtCiwNsp1U=" pdftag="P" isBookmarkSet="no" bookmark="no" Order="_x0034_"/>
  <Shape xmlns="" ID="9IwVSipEIzNkPI9oMgBe/04MV1k=" pdftag="P" isBookmarkSet="no" bookmark="no" Order="_x0033_"/>
  <Shape xmlns="" ID="d/WXX36DqdaoZZDnTqRdSeIU/tw=" pdftag="H3" artifact="_x0030_" isBookmarkSet="yes" bookmark="yes" Order="_x0031_"/>
  <Shape xmlns="" ID="Ljyj2zxkj47QI2jhgASJyxsNuZY=" Order="_x0031_2" artifact="_x0031_" isBookmarkSet="no" bookmark="no" pdftag="_x005B_Artifact_x005D_" validate="no"/>
  <Shape xmlns="" ID="6mbisseJpq7En+jMa4i4CUeH/gw=" Order="_x0031_0" artifact="_x0031_" isBookmarkSet="no" bookmark="no" pdftag="_x005B_Artifact_x005D_" validate="no"/>
  <Shape xmlns="" ID="KlTZb8M2+dOL+eplYTG+IAFN3l8=" pdftag="Figure" artifact="_x0031_" isBookmarkSet="no" bookmark="no" Lang="" Order="_x0033_" validate="no"/>
  <Shape xmlns="" ID="LbqgJ1bYbjcVVgwSPbHvMzyCD2g=" pdftag="Figure" artifact="_x0031_" isBookmarkSet="no" bookmark="no" Lang="" Order="_x0031_1" validate="no"/>
  <Shape xmlns="" ID="YsVYLlRfynKCiJp41LLOL+bdjpA=" pdftag="Figure" artifact="_x0031_" isBookmarkSet="no" bookmark="no" Lang="" Order="_x0034_" validate="no"/>
  <Shape xmlns="" ID="r+vfu8J6av2/peXhGv0ugyQIc2A=" pdftag="H4" artifact="_x0030_" isBookmarkSet="yes" bookmark="yes" Order="_x0032_"/>
  <Shape xmlns="" ID="Ju/pDhqntvKCJniC7PRRr5p0Fas=" isBookmarkSet="yes" bookmark="yes" pdftag="H4" artifact="_x0030_" Order="_x0035_"/>
  <Shape xmlns="" ID="C1ctRvJ4+2Mlxvuds/vyoV3GX2A=" pdftag="P" isBookmarkSet="no" bookmark="no" Order="_x0036_"/>
  <Shape xmlns="" ID="MK/0iNPspdYJ+OARgxRKSnvnAhY=" isBookmarkSet="yes" bookmark="yes" pdftag="H4" artifact="_x0030_" Order="_x0039_"/>
  <Shape xmlns="" ID="xd7MkgWS+Wkp7gBU20imN2VIkkg=" pdftag="P" isBookmarkSet="no" bookmark="no" Order="_x0031_0"/>
  <Shape xmlns="" ID="gidcXi3Y3ykpDFEdO2h96GCxjn0=" isBookmarkSet="yes" bookmark="yes" pdftag="H4" artifact="_x0030_" Order="_x0031_2"/>
  <Shape xmlns="" ID="fdYD85s30r7LWeCLaD4kE5ILfbc=" pdftag="P" isBookmarkSet="no" bookmark="no" Order="_x0031_3"/>
  <Shape xmlns="" ID="hhyOzggmLeMGmj9mvcYiomJwM6Q=" isBookmarkSet="yes" bookmark="yes" pdftag="H4" artifact="_x0030_" Order="_x0031_6"/>
  <Shape xmlns="" ID="HpfVsqWUE0dBCnSH8kaVCFp7HvA=" pdftag="P" isBookmarkSet="no" bookmark="no" Order="_x0031_7"/>
  <Shape xmlns="" ID="NzO6LEL5rEf3pv1kPIGwePitygM=" pdftag="Figure" artifact="_x0030_" isBookmarkSet="no" bookmark="no" Lang="" Order="_x0037_" validate="no"/>
  <Shape xmlns="" ID="xMXadh2EbQhHOVXE2Ir0uag3mkw=" pdftag="Figure" artifact="_x0030_" isBookmarkSet="no" bookmark="no" Lang="" Order="_x0038_" validate="no"/>
  <Shape xmlns="" ID="Q8lAbeLFSMyxUwXzHXaW22YbUxc=" pdftag="Figure" artifact="_x0030_" isBookmarkSet="no" bookmark="no" Lang="" Order="_x0031_4" validate="no"/>
  <Shape xmlns="" ID="ttWDZ61NHgqgIPb+FHAkFlf5Uqc=" pdftag="Figure" artifact="_x0030_" isBookmarkSet="no" bookmark="no" Lang="" Order="_x0031_5" validate="no"/>
  <Shape xmlns="" ID="HYnQKVV3XXvNgcI47K8+wF7vA3s=" isBookmarkSet="no" pdftag="H3" artifact="_x0030_" bookmark="yes" Order="_x0031_"/>
  <Shape xmlns="" ID="jG8FQ+sq895s5Tf4/XpTG8ZknW8=" Order="_x0032_" artifact="_x0031_" isBookmarkSet="no" bookmark="no" pdftag="_x005B_Artifact_x005D_" validate="no"/>
  <Shape xmlns="" ID="IJq8qWf4iOYvzVx5BgZ+jbb71Gs=" artifact="_x0030_" formula="no" pdftag="Figure" isBookmarkSet="no" bookmark="no" Lang="" Order="_x0032_" validate="no"/>
  <Shape xmlns="" ID="9AzTmssYI5ZdI//zn3kzDttWGu0=" pdftag="P" isBookmarkSet="no" bookmark="no" Order="_x0033_"/>
  <Shape xmlns="" ID="nfG+n9zm5ZssUf+LH/8j886HPmg=" isBookmarkSet="no" pdftag="H3" artifact="_x0030_" bookmark="yes" Order="_x0031_"/>
  <Shape xmlns="" ID="t4ArO4EBjWvsaYz/oBOJhagVH+A=" artifact="_x0030_" formula="no" pdftag="Figure" isBookmarkSet="no" bookmark="no" Lang="" Order="_x0034_" validate="no"/>
  <Shape xmlns="" ID="TK7/tqmbpxu4Dx610qT7zUrYCKI=" pdftag="Figure" artifact="_x0030_" isBookmarkSet="no" bookmark="no" Lang="" Order="_x0032_" validate="no"/>
  <Shape xmlns="" ID="F8/m66MZh4FNGXzl6WilAHqz9vY=" pdftag="P" isBookmarkSet="no" bookmark="no" Order="_x0033_"/>
  <Shape xmlns="" ID="Ex+AVhR9QPm9S3gtzox/qE9ntJ0=" Order="_x0031_" pdftag="H2" isBookmarkSet="no" bookmark="yes"/>
  <Shape xmlns="" ID="C0Z1waXHxcelqpAjNzeTfUzg1kI=" pdftag="P" isBookmarkSet="no" bookmark="no" Order="_x0032_"/>
  <Shape xmlns="" ID="ZjLMA8fgcRskOVLSoQZ4OY2jUGE=" artifact="_x0030_" formula="no" pdftag="Figure" isBookmarkSet="no" bookmark="no" Lang="" Order="_x0033_" validate="no"/>
  <Shape xmlns="" ID="f69oRLy4NdeYAAVEDeuZ6jMGml0=" Order="_x0031_" isBookmarkSet="yes" bookmark="no" pdftag="_x005B_Artifact_x005D_" artifact="_x0031_"/>
  <Shape xmlns="" ID="Nf1pMAGxmWEiLfw6/KihEg9rRnQ=" pdftag="P" isBookmarkSet="no" bookmark="no" Order="_x0032_"/>
  <Shape xmlns="" ID="4LSnZXqGpc0rAVV3SsrdIo9X/IU=" Order="_x0034_" artifact="_x0031_" isBookmarkSet="no" bookmark="no" pdftag="_x005B_Artifact_x005D_" validate="no"/>
  <Shape xmlns="" ID="OFLKmLThWmwPQpqa4uA1LMsfBYQ=" artifact="_x0030_" formula="no" pdftag="Figure" isBookmarkSet="no" bookmark="no" Lang="" Order="_x0031_" validate="no"/>
  <Shape xmlns="" ID="pGwS8kOUdR1flNbEfRDKcCdJkMo=" pdftag="P" isBookmarkSet="no" bookmark="no" Order="_x0033_"/>
  <Shape xmlns="" ID="CZKsOnnwbPWpmNipRqmba2yOej0=" Order="_x0037_" artifact="_x0031_" isBookmarkSet="no" bookmark="no" pdftag="_x005B_Artifact_x005D_" validate="no"/>
  <Shape xmlns="" ID="iYjsV6AUGbK4MV5fhFdfNgPfAQk=" pdftag="P" isBookmarkSet="no" bookmark="no" Order="_x0034_"/>
  <Shape xmlns="" ID="wb4HrocoT6ykqzKl+PzMiRE3/ys=" Order="_x0038_" artifact="_x0031_" isBookmarkSet="no" bookmark="no" pdftag="_x005B_Artifact_x005D_" validate="no"/>
  <Shape xmlns="" ID="mNASyfCX5iykDzc2e2MOT0ajqaY=" pdftag="P" isBookmarkSet="no" bookmark="no" Order="_x0035_"/>
  <Shape xmlns="" ID="3aalytaHPf1r7nqdLgucbSTbUV0=" Order="_x0031_2" artifact="_x0031_" isBookmarkSet="no" bookmark="no" pdftag="_x005B_Artifact_x005D_" validate="no"/>
  <Shape xmlns="" ID="YrrydLKFHbN+ZGE3DHCDoeut/FI=" pdftag="P" isBookmarkSet="no" bookmark="no" Order="_x0036_"/>
  <Shape xmlns="" ID="iRpEXolMIRK5XIQ3T7UAGcgtQKc=" Order="_x0031_1" artifact="_x0031_" isBookmarkSet="no" bookmark="no" pdftag="_x005B_Artifact_x005D_" validate="no"/>
  <Shape xmlns="" ID="Lv0DPo0kd9s3gYkd8/lwJ6N1lC4=" artifact="_x0030_" formula="no" pdftag="Figure" isBookmarkSet="no" bookmark="no" Lang="" Order="_x0037_" validate="no"/>
  <Shape xmlns="" ID="VTpLf/YZljUjkh9hrgsmsEWKp+w=" Order="_x0031_" pdftag="H2" isBookmarkSet="no" bookmark="yes"/>
  <Shape xmlns="" ID="9oVlySaPCZUBwYfxZm+hHimsShk=" formula="no" pdftag="Figure" inline="no" isBookmarkSet="no" bookmark="no" Lang="" artifact="_x0030_" Order="_x0032_" validate="no"/>
  <Shape xmlns="" ID="m2qEHNVis2LhBnee1HZhQxcpI+0=" Order="_x0031_" pdftag="H2" isBookmarkSet="no" bookmark="yes"/>
  <Shape xmlns="" ID="pas4JdfwAWn0Viny2syDF2cmNh8=" formula="no" pdftag="Figure" inline="no" isBookmarkSet="no" bookmark="no" Lang="" artifact="_x0030_" Order="_x0032_" validate="no"/>
  <Shape xmlns="" ID="o51FA3h+fxed0b5MacvlCgA0UBo=" pdftag="H2" isBookmarkSet="no" bookmark="yes" Order="_x0031_"/>
  <Shape xmlns="" ID="yz+1ICMrsR2W4c+XcEQdylLwMdU=" isBookmarkSet="no" pdftag="H3" artifact="_x0030_" bookmark="yes" Order="_x0031_"/>
  <Shape xmlns="" ID="GwZVqyTW2ZyXBhAks6i/My1VK7s=" artifact="_x0030_" formula="no" pdftag="Figure" isBookmarkSet="no" bookmark="no" Lang="" Order="_x0032_" validate="no"/>
  <Shape xmlns="" ID="GZM0Egw6fxrcnzk9OgS8B658rcU=" pdftag="P" isBookmarkSet="no" bookmark="no" Order="_x0033_"/>
  <Shape xmlns="" ID="o1db+hhZ3aFk4ANMEYF0Ggm2GpA=" isBookmarkSet="no" pdftag="H3" artifact="_x0030_" bookmark="yes" Order="_x0031_"/>
  <Shape xmlns="" ID="vrvW8JBswylQKarP2Ore+Qwa5U0=" pdftag="P" isBookmarkSet="no" bookmark="no" Order="_x0032_"/>
  <Shape xmlns="" ID="0O24kgcu9F3NTAMfbilqWMB6u6U=" artifact="_x0030_" formula="no" pdftag="Figure" isBookmarkSet="no" bookmark="no" Lang="" Order="_x0033_" validate="no"/>
  <Shape xmlns="" ID="bIHB3xS7g3tkQo6e4U9/+FM9FL0=" isBookmarkSet="no" pdftag="H3" artifact="_x0030_" bookmark="yes" Order="_x0031_"/>
  <Shape xmlns="" ID="AuGSc6cr3pSc2PCh4ra7enWkV2k=" artifact="_x0030_" formula="no" pdftag="Figure" isBookmarkSet="no" bookmark="no" Lang="" Order="_x0032_" validate="no"/>
  <Shape xmlns="" ID="Cwl/B+zVrUO0iS+VTOH8qKDFPdI=" Order="_x0033_" artifact="_x0031_" isBookmarkSet="no" bookmark="no" pdftag="_x005B_Artifact_x005D_" validate="no"/>
  <Shape xmlns="" ID="D9SBmZZr/3ceHIRiRIC+fE07Fko=" isBookmarkSet="no" pdftag="H3" artifact="_x0030_" bookmark="yes" Order="_x0031_"/>
  <Shape xmlns="" ID="96qSbf+5Objmgm8/rWs/s+8tlIM=" pdftag="P" isBookmarkSet="no" bookmark="no" Order="_x0032_"/>
  <Shape xmlns="" ID="iDitBCtvBDTvlobPxYJaC8dLDWo=" artifact="_x0030_" formula="no" pdftag="Figure" isBookmarkSet="no" bookmark="no" Lang="" Order="_x0033_" validate="no"/>
  <Shape xmlns="" ID="emeTolzmrPk4jRCNscYVKH1zc7U=" isBookmarkSet="no" pdftag="H3" artifact="_x0030_" bookmark="yes" Order="_x0031_"/>
  <Shape xmlns="" ID="li/nl6XvGuEgSL368Lr7/vGvf68=" isBookmarkSet="yes" bookmark="yes" pdftag="H4" artifact="_x0030_" Order="_x0032_"/>
  <Shape xmlns="" ID="By6wxAPR1TI8JaHyjb1ZiYQSnOQ=" artifact="_x0030_" formula="no" pdftag="Figure" isBookmarkSet="no" bookmark="no" Lang="" Order="_x0033_" validate="no"/>
  <Shape xmlns="" ID="bmSgrP4PwjhIItLHDTVhjLfXGv8=" isBookmarkSet="yes" bookmark="yes" pdftag="H4" artifact="_x0030_" Order="_x0034_"/>
  <Shape xmlns="" ID="YaC/zy9BGdD/WrJW7BGeHdlqaQY=" artifact="_x0030_" formula="no" pdftag="Figure" isBookmarkSet="no" bookmark="no" Lang="" Order="_x0035_" validate="no"/>
  <Shape xmlns="" ID="qzigWNrSD4j6eoXfD6fXu8zxd20=" Order="_x0034_" artifact="_x0031_" isBookmarkSet="no" bookmark="no" formula="no" Lang="" pdftag="_x005B_Artifact_x005D_" validate="no"/>
  <Shape xmlns="" ID="hrJzndjocIR/gAM1uDYF1HJV0QQ=" isBookmarkSet="no" pdftag="H3" artifact="_x0030_" bookmark="yes" Order="_x0031_"/>
  <Shape xmlns="" ID="um0J56RDxx+s42Q7fstGvHtca48=" artifact="_x0030_" formula="no" pdftag="Figure" isBookmarkSet="no" bookmark="no" Lang="" Order="_x0035_" validate="no"/>
  <Shape xmlns="" ID="ykl5LqrIN++LVTomzQ79+muJESo=" pdftag="Figure" artifact="_x0030_" isBookmarkSet="no" bookmark="no" Lang="" Order="_x0032_" validate="no"/>
  <Shape xmlns="" ID="PkJaXGdwMwqTUIks3p0b0Qul2NQ=" artifact="_x0030_" formula="no" pdftag="Figure" isBookmarkSet="no" bookmark="no" Lang="" Order="_x0033_" validate="no"/>
  <Shape xmlns="" ID="TiriFF2VPUz9OnxutS9s2EIllCk=" pdftag="Figure" artifact="_x0030_" isBookmarkSet="no" bookmark="no" Lang="" Order="_x0034_" validate="no"/>
  <Shape xmlns="" ID="TJaJBL8+FTak6wbDA5yBueMlG8Y=" isBookmarkSet="no" pdftag="H3" artifact="_x0030_" bookmark="yes" Order="_x0031_"/>
  <Shape xmlns="" ID="xaqwFldtZHCnw8+Gr/vJkJ0fYio=" artifact="_x0030_" formula="no" pdftag="Figure" isBookmarkSet="no" bookmark="no" Lang="" Order="_x0032_" validate="no"/>
  <Shape xmlns="" ID="wMnQLs3MDLIjfxIEPKIwkMYPFXw=" isBookmarkSet="no" pdftag="H3" artifact="_x0030_" bookmark="yes" Order="_x0031_"/>
  <Shape xmlns="" ID="P1D7bTJPFB5rWWvW3AXqiaDutZc=" artifact="_x0030_" formula="no" pdftag="Figure" isBookmarkSet="no" bookmark="no" Lang="" Order="_x0032_" validate="no"/>
  <Shape xmlns="" ID="Etu9Lbu3XoAuVVW+mum2m1W57mg=" isBookmarkSet="no" pdftag="H3" artifact="_x0030_" bookmark="yes" Order="_x0031_"/>
  <Shape xmlns="" ID="ubbVmQPVqYs2WT3Q2vgtlO6w2Lo=" artifact="_x0030_" formula="no" pdftag="Figure" isBookmarkSet="no" bookmark="no" Lang="" Order="_x0032_" validate="no"/>
  <Shape xmlns="" ID="0M6/QSVzJcqaf+L7GbDUNBr7+O8=" artifact="_x0030_" formula="no" pdftag="Figure" isBookmarkSet="no" bookmark="no" Lang="" Order="_x0033_" validate="no"/>
  <Shape xmlns="" ID="TecCQ9f9naNbGUiml5r4vZKg+Sg=" Order="_x0032_" artifact="_x0031_" isBookmarkSet="no" bookmark="no" formula="no" Lang="" pdftag="_x005B_Artifact_x005D_" validate="no"/>
  <Shape xmlns="" ID="S36G+u0g2BeHhCkpNrvuX174W0M=" Order="_x0035_" artifact="_x0031_" isBookmarkSet="no" bookmark="no" formula="no" Lang="" pdftag="_x005B_Artifact_x005D_" validate="no"/>
  <Shape xmlns="" ID="Xju1cjEHImtICvy+GOP48F7SAas=" Order="_x0036_" artifact="_x0031_" isBookmarkSet="no" bookmark="no" formula="no" Lang="" pdftag="_x005B_Artifact_x005D_" validate="no"/>
  <Shape xmlns="" ID="jX0ujs6lk3aYXmhcqiHpZfHw7J4=" isBookmarkSet="no" pdftag="H3" artifact="_x0030_" bookmark="yes" Order="_x0031_"/>
  <Shape xmlns="" ID="FzNaXhR2fTHBy/+orq8prSluxgg=" artifact="_x0030_" formula="no" pdftag="Figure" isBookmarkSet="no" bookmark="no" Lang="" Order="_x0032_" validate="no"/>
  <Shape xmlns="" ID="uOPyTDzmxmCilGw0ZxrJB7QNVL4=" artifact="_x0030_" formula="no" pdftag="Figure" isBookmarkSet="no" bookmark="no" Lang="" Order="_x0033_" validate="no"/>
  <Shape xmlns="" ID="1mtMK/vl9GU/eHQq8twAicc1gps=" artifact="_x0030_" formula="no" pdftag="Figure" isBookmarkSet="no" bookmark="no" Lang="" Order="_x0034_" validate="no"/>
  <Shape xmlns="" ID="GpRlWhmVW+pAVVdnliE49sY0pL4=" artifact="_x0030_" formula="no" pdftag="Figure" isBookmarkSet="no" bookmark="no" Lang="" Order="_x0035_" validate="no"/>
  <Shape xmlns="" ID="dSgwnF3JePnha5+9hGk11mAQhQU=" artifact="_x0030_" formula="no" pdftag="Figure" isBookmarkSet="no" bookmark="no" Lang="" Order="_x0038_" validate="no"/>
  <Shape xmlns="" ID="gBCAG95zx79ykPmRfybxhC5/2iE=" artifact="_x0030_" formula="no" pdftag="Figure" isBookmarkSet="no" bookmark="no" Lang="" Order="_x0036_" validate="no"/>
  <Shape xmlns="" ID="PHI4YzaI/OT0AEe9ctmCZFhBy3I=" artifact="_x0030_" formula="no" pdftag="Figure" isBookmarkSet="no" bookmark="no" Lang="" Order="_x0037_" validate="no"/>
  <Shape xmlns="" ID="yPMxnKeJp7SKmRYifPXzMYhW+TM=" isBookmarkSet="no" pdftag="H3" artifact="_x0030_" bookmark="yes" Order="_x0031_"/>
  <Shape xmlns="" ID="mMY4X1NSKqGlWfV2ETVtitYwXqE=" artifact="_x0030_" formula="no" pdftag="Figure" isBookmarkSet="no" bookmark="no" Lang="" Order="_x0032_" validate="no"/>
  <Shape xmlns="" ID="UnxecFllh7OxfGvrCEmewTY4pfA=" artifact="_x0030_" formula="no" pdftag="Figure" isBookmarkSet="no" bookmark="no" Lang="" Order="_x0033_" validate="no"/>
  <Shape xmlns="" ID="b/4AHdVT86ikrXOWAGa/zNwX4pc=" artifact="_x0030_" formula="no" pdftag="Figure" isBookmarkSet="no" bookmark="no" Lang="" Order="_x0034_" validate="no"/>
  <Shape xmlns="" ID="bjW8wd10MiHeESepQcfE4k6hijA=" artifact="_x0030_" formula="no" pdftag="Figure" isBookmarkSet="no" bookmark="no" Lang="" Order="_x0035_" validate="no"/>
  <Shape xmlns="" ID="8F+CRm0gTlsKylMt9E0xzmJ7Rvc=" artifact="_x0030_" formula="no" pdftag="Figure" isBookmarkSet="no" bookmark="no" Lang="" Order="_x0036_" validate="no"/>
  <Shape xmlns="" ID="R548I8xDAqx5NcdhG61WCChLzac=" artifact="_x0030_" formula="no" pdftag="Figure" isBookmarkSet="no" bookmark="no" Lang="" Order="_x0037_" validate="no"/>
  <Shape xmlns="" ID="LeqidWY1wbnuC4UY/7sjLDY8MNI=" isBookmarkSet="no" pdftag="H2" artifact="_x0030_" bookmark="yes" Order="_x0031_"/>
  <Shape xmlns="" ID="vcLaf/M/GcfXkN3QiqZ1vZtLx4w=" isBookmarkSet="no" pdftag="H3" artifact="_x0030_" bookmark="yes" Order="_x0032_"/>
  <Shape xmlns="" ID="i9Yj7FobwgOsWL22iHv3gcLki2U=" artifact="_x0030_" formula="no" pdftag="Figure" isBookmarkSet="no" bookmark="no" Lang="" Order="_x0033_" validate="no"/>
  <Shape xmlns="" ID="u42PRt1tPoOLmbJfFBPTkYJ7qSg=" pdftag="H3" artifact="_x0030_" isBookmarkSet="yes" bookmark="yes" Order="_x0034_"/>
  <Shape xmlns="" ID="xy85kFtUz1wV9EfVJu1zpKQSM1M=" artifact="_x0030_" formula="no" pdftag="Figure" isBookmarkSet="no" bookmark="no" Lang="" Order="_x0035_" validate="no"/>
  <Shape xmlns="" ID="9N/YghJhUzvpZclbiU0nFq3x9Es=" pdftag="H2" isBookmarkSet="no" bookmark="yes" Order="_x0031_"/>
  <Shape xmlns="" ID="/0XYwHJ67rPtemnZ5wqUCCMhs8g=" artifact="_x0030_" formula="no" pdftag="Figure" isBookmarkSet="no" bookmark="no" Lang="" Order="_x0032_" validate="no"/>
  <Shape xmlns="" ID="f34OpvhkjKLmYw7JaDN6IccDJvM=" pdftag="H2" isBookmarkSet="no" bookmark="yes" Order="_x0031_"/>
  <Shape xmlns="" ID="JX3SV6n25LAhnvw4rd58zHtNK8g=" artifact="_x0030_" formula="no" pdftag="Figure" isBookmarkSet="no" bookmark="no" Lang="" Order="_x0032_" validate="no"/>
  <Shape xmlns="" ID="jhPyzFYXNqBGXoANPtkIeVeE09c=" artifact="_x0030_" formula="no" pdftag="Figure" isBookmarkSet="no" bookmark="no" Lang="" Order="_x0033_" validate="no"/>
  <Shape xmlns="" ID="N37s7fm94y4AjH2cq/WoW0pftJk=" isBookmarkSet="no" pdftag="H3" artifact="_x0030_" bookmark="yes" Order="_x0031_"/>
  <Shape xmlns="" ID="sMV1ySd65D8l0mZUL52YjcBn9Ws=" artifact="_x0030_" formula="no" pdftag="Figure" isBookmarkSet="no" bookmark="no" Lang="" Order="_x0032_" validate="no"/>
  <Shape xmlns="" ID="cOOhuxu7q9q/NdSqzHT5LWIc+DY=" isBookmarkSet="no" pdftag="H3" artifact="_x0030_" bookmark="yes" Order="_x0031_"/>
  <Shape xmlns="" ID="y3Kh4k7fgfw3FHVJPtV6XJg7YiA=" artifact="_x0030_" formula="no" pdftag="Figure" isBookmarkSet="no" bookmark="no" Lang="" Order="_x0032_" validate="no"/>
  <Shape xmlns="" ID="hMAKR6ajE9GWsCx0SDZv/sFLayc=" isBookmarkSet="no" pdftag="H3" artifact="_x0030_" bookmark="yes" Order="_x0031_"/>
  <Shape xmlns="" ID="61RuzlM/dbausbdgjOK8RhXvAQc=" artifact="_x0030_" formula="no" pdftag="Figure" isBookmarkSet="no" bookmark="no" Lang="" Order="_x0032_" validate="no"/>
  <Shape xmlns="" ID="AeczeD50ENv0nSnM2iHIEEcmRzk=" isBookmarkSet="no" pdftag="H3" artifact="_x0030_" bookmark="yes" Order="_x0031_"/>
  <Shape xmlns="" ID="uCANllRSqvpK5EEvxim6dfWRQjQ=" artifact="_x0030_" formula="no" pdftag="Figure" isBookmarkSet="no" bookmark="no" Lang="" Order="_x0032_" validate="no"/>
  <Shape xmlns="" ID="Bv95rwD8AxO/DP5omA5zzGzVOeA=" isBookmarkSet="no" pdftag="H3" artifact="_x0030_" bookmark="yes" Order="_x0031_"/>
  <Shape xmlns="" ID="m4f+GUFuTFTOxRDFupTwzyfz+Tg=" artifact="_x0030_" formula="no" pdftag="Figure" isBookmarkSet="no" bookmark="no" Lang="" Order="_x0032_" validate="no"/>
  <Shape xmlns="" ID="ZjroEd5anJEICabqDN+CKwIFZ80=" isBookmarkSet="no" pdftag="H3" artifact="_x0030_" bookmark="yes" Order="_x0031_"/>
  <Shape xmlns="" ID="KVPg9hTsbXUJUBWGYe/Yf43utlI=" artifact="_x0030_" formula="no" pdftag="Figure" isBookmarkSet="no" bookmark="no" Lang="" Order="_x0032_" validate="no"/>
  <Shape xmlns="" ID="bsrmojA8UeVI6CpzaR0A98VhCfU=" pdftag="H2" isBookmarkSet="no" bookmark="yes" Order="_x0031_"/>
  <Shape xmlns="" ID="7QPIreWiitZeJOIfMNEaTUnsHss=" isBookmarkSet="no" pdftag="H3" artifact="_x0030_" bookmark="yes" Order="_x0031_"/>
  <Shape xmlns="" ID="qp15uJ71dcjn4YAN8gbM/kQxecI=" artifact="_x0030_" formula="no" pdftag="Figure" isBookmarkSet="no" bookmark="no" Lang="" Order="_x0032_" validate="no"/>
  <Shape xmlns="" ID="iAjRg9kWy/1/zW1gnIU1QRrmAS8=" isBookmarkSet="no" pdftag="H3" artifact="_x0030_" bookmark="yes" Order="_x0031_"/>
  <Shape xmlns="" ID="xJmhsk06h5Fxa9e0GCdfNdd04ZI=" artifact="_x0030_" formula="no" pdftag="Figure" isBookmarkSet="no" bookmark="no" Lang="" Order="_x0032_" validate="no"/>
  <Shape xmlns="" ID="wIlmfGfcKfU4Z/Z/kOkT+eERZYM=" pdftag="H2" isBookmarkSet="no" bookmark="yes" Order="_x0031_"/>
  <Shape xmlns="" ID="YEwImwHZCwmT49CohOZbZvun6FE=" isBookmarkSet="no" pdftag="H3" artifact="_x0030_" bookmark="yes" Order="_x0031_"/>
  <Shape xmlns="" ID="nWb2/akVAxYGfNZbKGgCKBXuSc8=" artifact="_x0030_" formula="no" pdftag="Figure" isBookmarkSet="no" bookmark="no" Lang="" Order="_x0032_" validate="no"/>
  <Shape xmlns="" ID="PaK52WYM4EN84/sh0RpiR6LVLyI=" artifact="_x0030_" formula="no" pdftag="Figure" isBookmarkSet="no" bookmark="no" Lang="" Order="_x0033_" validate="no"/>
  <Shape xmlns="" ID="fZ3tGX4XARg5qI/P3w/ZWGwBOl0=" pdftag="P" isBookmarkSet="no" bookmark="no" Order="_x0034_"/>
  <Shape xmlns="" ID="SsE/n03fL4T5f5ZYu7TZ7jnIjyg=" isBookmarkSet="yes" bookmark="no" pdftag="H3" artifact="_x0030_" Order="_x0031_"/>
  <Shape xmlns="" ID="DmQXMBKdrt8HODGZG+KB06U9hg4=" artifact="_x0030_" formula="no" pdftag="Figure" isBookmarkSet="no" bookmark="no" Lang="" Order="_x0032_" validate="no"/>
  <Shape xmlns="" ID="Pk2uk5Am1b51w/VY07Vab1giKkw=" artifact="_x0030_" formula="no" pdftag="Figure" isBookmarkSet="no" bookmark="no" Lang="" Order="_x0033_" validate="no"/>
  <Shape xmlns="" ID="zskDh+LGopFKRxoS7lq839pdwZA=" artifact="_x0030_" formula="no" pdftag="Figure" isBookmarkSet="no" bookmark="no" Lang="" Order="_x0034_" validate="no"/>
  <Shape xmlns="" ID="G1rUlXZrNZky8dTjeP7M80RnBIA=" artifact="_x0030_" formula="no" pdftag="Figure" isBookmarkSet="no" bookmark="no" Lang="" Order="_x0035_" validate="no"/>
  <Shape xmlns="" ID="VKPxz5JnC9Ssfthki4qQjR7sFtA=" isBookmarkSet="no" pdftag="H3" artifact="_x0030_" bookmark="yes" Order="_x0031_"/>
  <Shape xmlns="" ID="oWoq3ELkLwAIbpm9BzkEgzF77Y0=" pdftag="P" isBookmarkSet="no" bookmark="no" Order="_x0032_"/>
  <Shape xmlns="" ID="VLJWB+huYsdVmz4AkP/PlNpfL98=" artifact="_x0030_" formula="no" pdftag="Figure" isBookmarkSet="no" bookmark="no" Lang="" Order="_x0033_" validate="no"/>
  <Shape xmlns="" ID="Jhhzc1xSE1tn5pvKrSqT2m+bi3A=" pdftag="H2" isBookmarkSet="no" bookmark="yes" Order="_x0031_"/>
  <Shape xmlns="" ID="VX+q5tRoJVqY0+c8yGlfVc51CvA=" artifact="_x0030_" formula="no" pdftag="Figure" isBookmarkSet="no" bookmark="no" Lang="" Order="_x0032_" validate="no"/>
  <Shape xmlns="" ID="aYTxNHrbaP9wquebaJRepZHmZY4=" pdftag="P" isBookmarkSet="no" bookmark="no" Order="_x0033_"/>
  <Shape xmlns="" ID="J+ctLmDbYXvzDDo4bKoqlkwcW5s=" formula="no" pdftag="Figure" artifact="_x0030_" inline="no" isBookmarkSet="no" bookmark="no" Lang="" Order="_x0034_" validate="no"/>
  <Shape xmlns="" ID="gxDjUlvKrrFnpzrxB3Q2Dw0jky8=" pdftag="H2" isBookmarkSet="no" bookmark="yes" Order="_x0031_"/>
  <Shape xmlns="" ID="KoxBYmy/9koDLoD+2e9X9FHsTh8=" pdftag="P" isBookmarkSet="no" bookmark="no" Order="_x0032_"/>
  <Shape xmlns="" ID="x4SxjjC139zDVjOKTnJkyegNGiI=" pdftag="H2" isBookmarkSet="no" bookmark="yes" Order="_x0032_"/>
  <Shape xmlns="" ID="cKi116y0HHkg7wigY9sIEkBLVl4=" pdftag="P" isBookmarkSet="no" bookmark="no" Order="_x0033_"/>
  <Shape xmlns="" ID="kbxF62Y5IghYUyLRj/+4hhmKA2c=" formula="no" inline="no" pdftag="Figure" isBookmarkSet="no" bookmark="no" Lang="" artifact="_x0030_" Order="_x0031_" validate="no"/>
  <HyperLink xmlns="" ID="9oVlySaPCZUBwYfxZm+hHimsShk=" plainAltText="http:_x002F__x002F_https_x002F_cdn.jwplayer.com_x002F_previews_x002F_oR6Rkpap-CeEBvWnE" language=""/>
  <HyperLink xmlns="" ID="pas4JdfwAWn0Viny2syDF2cmNh8=" plainAltText="http:_x002F__x002F_https_x002F_cdn.jwplayer.com_x002F_previews_x002F_YzSLQ7nD-CeEBvWnE" language=""/>
  <HyperLink xmlns="" ID="VX+q5tRoJVqY0+c8yGlfVc51CvA=" plainAltText="https:_x002F__x002F_starautismsupport.com_x002F_newsletter-sign-0" language=""/>
  <HyperLink xmlns="" ID="aYTxNHrbaP9wquebaJRepZHmZY4=-1097191049342.0869_311.6404" plainAltText="www.starautismsupport.com_x000D_" language="" Lang=""/>
  <HyperLink xmlns="" ID="aYTxNHrbaP9wquebaJRepZHmZY4=-561894437301.8469_398.0403" plainAltText="information_x0040_starautismsupport.com" language="" Lang=""/>
  <HyperLink xmlns="" ID="KoxBYmy/9koDLoD+2e9X9FHsTh8=71120852474.55945_164.25" plainAltText="https:_x002F__x002F_brainspring.com_x002F_content_x002F_blog-files_x002F_Scarboroughs-Reading-Rope-rgb-G1-102-UNI-" language="" Lang=""/>
  <HyperLink xmlns="" ID="KoxBYmy/9koDLoD+2e9X9FHsTh8=112121049274.55945_190.65" plainAltText="_x0030_32422.jpg" language=""/>
  <HyperLink xmlns="" ID="KoxBYmy/9koDLoD+2e9X9FHsTh8=627633409155.7545_393.45" plainAltText="https:_x002F__x002F_teachingstrategies.com_x002F_solution_x002F_science-of-reading_x002F_" language="" Lang=""/>
  <HyperLink xmlns="" ID="KoxBYmy/9koDLoD+2e9X9FHsTh8=-1110772884513.7794_478.65" plainAltText="https:_x002F__x002F_doi.org_x002F_10.1007_x002F_s10803-014-2351-z" language="" Lang=""/>
  <SubText xmlns="" ID="9AU6a/Qlm4CO+IZYS/72vXBOyHA=" ActualText=""/>
  <SubText xmlns="" ID="kbxF62Y5IghYUyLRj/+4hhmKA2c=" ActualText=""/>
  <SubText xmlns="" ID="J+ctLmDbYXvzDDo4bKoqlkwcW5s=" ActualText=""/>
  <SubText xmlns="" ID="v7YahT+vY6flX2g9Z0IuJIWyULA=" ActualText=""/>
  <SubText xmlns="" ID="A5kLUICyDT4H0R0YkKEim0gLLWo=" ActualText=""/>
  <SubText xmlns="" ID="BVoGAhmHvwWNs0aG+oVgATYd7S8=" ActualText=""/>
  <SubText xmlns="" ID="tsWtShgJHPoIKfwK+xFoiGsUxyI=" ActualText=""/>
  <SubText xmlns="" ID="7mpvj1BWgouqpQugwL5Y2mnZGrw=" ActualText=""/>
  <SubText xmlns="" ID="NqYx3meWRLOvoVqaTz36vKtDXOA=" ActualText=""/>
  <SubText xmlns="" ID="1zOz/BjeVS2UGKkkt/d9GR38VA0=" ActualText=""/>
  <SubText xmlns="" ID="o6tu934BPZre8RZBCf5LKkEr6qw=" ActualText=""/>
  <SubText xmlns="" ID="Cc49P03DKA7AMEKb9AeyNFYwuZA=" ActualText=""/>
  <SubText xmlns="" ID="Y147nC4Y+ttCVP26SAnnWhRjbgg=" ActualText=""/>
  <SubText xmlns="" ID="9jo88K/FdmTCKIRR5owrFfOd6ZM=" ActualText=""/>
  <SubText xmlns="" ID="glZLKFFjg/x9rZ96BnmPwEBID1E=" ActualText=""/>
  <SubText xmlns="" ID="olsgjzsJzK830nRlRNHJkrARjcU=" ActualText=""/>
  <SubText xmlns="" ID="NzO6LEL5rEf3pv1kPIGwePitygM=" ActualText=""/>
  <SubText xmlns="" ID="xMXadh2EbQhHOVXE2Ir0uag3mkw=" ActualText=""/>
  <SubText xmlns="" ID="Q8lAbeLFSMyxUwXzHXaW22YbUxc=" ActualText=""/>
  <SubText xmlns="" ID="ttWDZ61NHgqgIPb+FHAkFlf5Uqc=" ActualText=""/>
  <SubText xmlns="" ID="IJq8qWf4iOYvzVx5BgZ+jbb71Gs=" ActualText=""/>
  <SubText xmlns="" ID="t4ArO4EBjWvsaYz/oBOJhagVH+A=" ActualText=""/>
  <SubText xmlns="" ID="TK7/tqmbpxu4Dx610qT7zUrYCKI=" ActualText=""/>
  <SubText xmlns="" ID="ZjLMA8fgcRskOVLSoQZ4OY2jUGE=" ActualText=""/>
  <SubText xmlns="" ID="OFLKmLThWmwPQpqa4uA1LMsfBYQ=" ActualText=""/>
  <SubText xmlns="" ID="Lv0DPo0kd9s3gYkd8/lwJ6N1lC4=" ActualText=""/>
  <SubText xmlns="" ID="9oVlySaPCZUBwYfxZm+hHimsShk=" ActualText=""/>
  <SubText xmlns="" ID="pas4JdfwAWn0Viny2syDF2cmNh8=" ActualText=""/>
  <SubText xmlns="" ID="GwZVqyTW2ZyXBhAks6i/My1VK7s=" ActualText=""/>
  <SubText xmlns="" ID="0O24kgcu9F3NTAMfbilqWMB6u6U=" ActualText=""/>
  <SubText xmlns="" ID="AuGSc6cr3pSc2PCh4ra7enWkV2k=" ActualText=""/>
  <SubText xmlns="" ID="iDitBCtvBDTvlobPxYJaC8dLDWo=" ActualText=""/>
  <SubText xmlns="" ID="By6wxAPR1TI8JaHyjb1ZiYQSnOQ=" ActualText=""/>
  <SubText xmlns="" ID="YaC/zy9BGdD/WrJW7BGeHdlqaQY=" ActualText=""/>
  <SubText xmlns="" ID="um0J56RDxx+s42Q7fstGvHtca48=" ActualText=""/>
  <SubText xmlns="" ID="ykl5LqrIN++LVTomzQ79+muJESo=" ActualText=""/>
  <SubText xmlns="" ID="PkJaXGdwMwqTUIks3p0b0Qul2NQ=" ActualText=""/>
  <SubText xmlns="" ID="TiriFF2VPUz9OnxutS9s2EIllCk=" ActualText=""/>
  <SubText xmlns="" ID="xaqwFldtZHCnw8+Gr/vJkJ0fYio=" ActualText=""/>
  <SubText xmlns="" ID="P1D7bTJPFB5rWWvW3AXqiaDutZc=" ActualText=""/>
  <SubText xmlns="" ID="ubbVmQPVqYs2WT3Q2vgtlO6w2Lo=" ActualText=""/>
  <SubText xmlns="" ID="0M6/QSVzJcqaf+L7GbDUNBr7+O8=" ActualText=""/>
  <SubText xmlns="" ID="FzNaXhR2fTHBy/+orq8prSluxgg=" ActualText=""/>
  <SubText xmlns="" ID="uOPyTDzmxmCilGw0ZxrJB7QNVL4=" ActualText=""/>
  <SubText xmlns="" ID="1mtMK/vl9GU/eHQq8twAicc1gps=" ActualText=""/>
  <SubText xmlns="" ID="GpRlWhmVW+pAVVdnliE49sY0pL4=" ActualText=""/>
  <SubText xmlns="" ID="dSgwnF3JePnha5+9hGk11mAQhQU=" ActualText=""/>
  <SubText xmlns="" ID="gBCAG95zx79ykPmRfybxhC5/2iE=" ActualText=""/>
  <SubText xmlns="" ID="PHI4YzaI/OT0AEe9ctmCZFhBy3I=" ActualText=""/>
  <SubText xmlns="" ID="mMY4X1NSKqGlWfV2ETVtitYwXqE=" ActualText=""/>
  <SubText xmlns="" ID="UnxecFllh7OxfGvrCEmewTY4pfA=" ActualText=""/>
  <SubText xmlns="" ID="b/4AHdVT86ikrXOWAGa/zNwX4pc=" ActualText=""/>
  <SubText xmlns="" ID="bjW8wd10MiHeESepQcfE4k6hijA=" ActualText=""/>
  <SubText xmlns="" ID="8F+CRm0gTlsKylMt9E0xzmJ7Rvc=" ActualText=""/>
  <SubText xmlns="" ID="R548I8xDAqx5NcdhG61WCChLzac=" ActualText=""/>
  <SubText xmlns="" ID="i9Yj7FobwgOsWL22iHv3gcLki2U=" ActualText=""/>
  <SubText xmlns="" ID="xy85kFtUz1wV9EfVJu1zpKQSM1M=" ActualText=""/>
  <SubText xmlns="" ID="/0XYwHJ67rPtemnZ5wqUCCMhs8g=" ActualText=""/>
  <SubText xmlns="" ID="JX3SV6n25LAhnvw4rd58zHtNK8g=" ActualText=""/>
  <SubText xmlns="" ID="jhPyzFYXNqBGXoANPtkIeVeE09c=" ActualText=""/>
  <SubText xmlns="" ID="sMV1ySd65D8l0mZUL52YjcBn9Ws=" ActualText=""/>
  <SubText xmlns="" ID="y3Kh4k7fgfw3FHVJPtV6XJg7YiA=" ActualText=""/>
  <SubText xmlns="" ID="61RuzlM/dbausbdgjOK8RhXvAQc=" ActualText=""/>
  <SubText xmlns="" ID="uCANllRSqvpK5EEvxim6dfWRQjQ=" ActualText=""/>
  <SubText xmlns="" ID="m4f+GUFuTFTOxRDFupTwzyfz+Tg=" ActualText=""/>
  <SubText xmlns="" ID="KVPg9hTsbXUJUBWGYe/Yf43utlI=" ActualText=""/>
  <SubText xmlns="" ID="qp15uJ71dcjn4YAN8gbM/kQxecI=" ActualText=""/>
  <SubText xmlns="" ID="xJmhsk06h5Fxa9e0GCdfNdd04ZI=" ActualText=""/>
  <SubText xmlns="" ID="nWb2/akVAxYGfNZbKGgCKBXuSc8=" ActualText=""/>
  <SubText xmlns="" ID="PaK52WYM4EN84/sh0RpiR6LVLyI=" ActualText=""/>
  <SubText xmlns="" ID="DmQXMBKdrt8HODGZG+KB06U9hg4=" ActualText=""/>
  <SubText xmlns="" ID="Pk2uk5Am1b51w/VY07Vab1giKkw=" ActualText=""/>
  <SubText xmlns="" ID="zskDh+LGopFKRxoS7lq839pdwZA=" ActualText=""/>
  <SubText xmlns="" ID="G1rUlXZrNZky8dTjeP7M80RnBIA=" ActualText=""/>
  <SubText xmlns="" ID="VLJWB+huYsdVmz4AkP/PlNpfL98=" ActualText=""/>
  <SubText xmlns="" ID="VX+q5tRoJVqY0+c8yGlfVc51CvA=" ActualText=""/>
  <Shape xmlns="" ID="0ObLer/GaxedA/53xG6wC9+o+6Q=" pdftag="H2" isBookmarkSet="no" bookmark="yes" Order="_x0031_"/>
  <Shape xmlns="" ID="Z9XbEigUCECPh8ZaRRjtj0pCF14=" isBookmarkSet="no" pdftag="H3" artifact="_x0030_" bookmark="yes" Order="_x0031_"/>
  <Shape xmlns="" ID="aVGggDKxPS7lgiukdT+T93XW4As=" bookmark="no" pdftag="P" isBookmarkSet="no" Order="_x0032_"/>
  <Shape xmlns="" ID="3qX8Og5Weo/aaovim7BMgX4KlCE=" artifact="_x0030_" Lang="" formula="no" bookmark="no" pdftag="Figure" isBookmarkSet="no" Order="_x0033_" validate="no"/>
  <Shape xmlns="" ID="2kDAlwbTB/GmOaxT1sc7QUDEU18=" artifact="_x0030_" Lang="" formula="no" bookmark="no" pdftag="Figure" isBookmarkSet="no" Order="_x0034_" validate="no"/>
  <Shape xmlns="" ID="Qbhajmk4CJ2RZtnV9qCkg+VdXoM=" bookmark="no" pdftag="P" isBookmarkSet="no" Order="_x0035_"/>
  <Shape xmlns="" ID="REUjMe/isB0UmvldS4NH2vP6jJE=" isBookmarkSet="no" pdftag="H3" artifact="_x0030_" bookmark="yes" Order="_x0031_"/>
  <Shape xmlns="" ID="ek6492nrjtSbvyki1Hpel1iFrcA=" isBookmarkSet="no" pdftag="H3" artifact="_x0030_" bookmark="yes" Order="_x0031_"/>
  <Shape xmlns="" ID="u5LVXfLqSXZQ/xaokFlzAdTYqs8=" isBookmarkSet="no" pdftag="H3" artifact="_x0030_" bookmark="yes" Order="_x0031_"/>
  <SubText xmlns="" ID="3qX8Og5Weo/aaovim7BMgX4KlCE=" ActualText=""/>
  <SubText xmlns="" ID="2kDAlwbTB/GmOaxT1sc7QUDEU18=" ActualText=""/>
  <Shape xmlns="" ID="YSqsiCXC5kCBFpnX5XhgOfb+uTI=" pdftag="H2" isBookmarkSet="no" bookmark="yes" Order="_x0031_"/>
  <Shape xmlns="" ID="gz/zEi4D1/ui7p4qMHbXkE7fz9I=" bookmark="no" pdftag="P" isBookmarkSet="no" Order="_x0032_"/>
  <HyperLink xmlns="" ID="KoxBYmy/9koDLoD+2e9X9FHsTh8=-77547199366.9695_137.85" plainAltText="Scarborough_x2019_s_x0020_reading_x0020_rope" language="" Lang=""/>
  <HyperLink xmlns="" ID="KoxBYmy/9koDLoD+2e9X9FHsTh8=-747848299392.8394_367.05" plainAltText="Science_x0020_of_x0020_Reading_x0020_in_x0020_early_x0020_childhood_x0020_classrooms:_x0020_6-part_x0020_" Lang=""/>
  <HyperLink xmlns="" ID="KoxBYmy/9koDLoD+2e9X9FHsTh8=151579186074.55945_393.45" plainAltText="webinar" language="" Lang=""/>
  <HyperLink xmlns="" ID="KoxBYmy/9koDLoD+2e9X9FHsTh8=1090192931745.1545_452.25" plainAltText="Journal_x0020_of_x0020_Autism_x0020_" language="" Lang=""/>
  <HyperLink xmlns="" ID="KoxBYmy/9koDLoD+2e9X9FHsTh8=-97237576274.55945_478.65" plainAltText="and_x0020_Developmental_x0020_Disorders" language="" Lang=""/>
</PAW>
</file>

<file path=customXml/itemProps1.xml><?xml version="1.0" encoding="utf-8"?>
<ds:datastoreItem xmlns:ds="http://schemas.openxmlformats.org/officeDocument/2006/customXml" ds:itemID="{5B33A75B-C5C2-4E53-A3FF-1458ECEE0553}">
  <ds:schemaRefs>
    <ds:schemaRef ds:uri="http://www.net-centric.com/PAWPP"/>
    <ds:schemaRef ds:uri="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2</TotalTime>
  <Words>1353</Words>
  <Application>Microsoft Office PowerPoint</Application>
  <PresentationFormat>Widescreen</PresentationFormat>
  <Paragraphs>249</Paragraphs>
  <Slides>52</Slides>
  <Notes>5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59" baseType="lpstr">
      <vt:lpstr>Aptos</vt:lpstr>
      <vt:lpstr>Arial</vt:lpstr>
      <vt:lpstr>Calibri</vt:lpstr>
      <vt:lpstr>Courier New</vt:lpstr>
      <vt:lpstr>Wingdings</vt:lpstr>
      <vt:lpstr>Wingdings 3</vt:lpstr>
      <vt:lpstr>Integral</vt:lpstr>
      <vt:lpstr>STAR Autism Support: Launching Every Learner to Reading Success!</vt:lpstr>
      <vt:lpstr>Introductions</vt:lpstr>
      <vt:lpstr>Handouts</vt:lpstr>
      <vt:lpstr>Who is STAR Autism Support? </vt:lpstr>
      <vt:lpstr>Getting to Know You: Raise Your Hand!</vt:lpstr>
      <vt:lpstr>Getting to Know You: Raise Your Hand! </vt:lpstr>
      <vt:lpstr>Getting to Know You: Use Your Fingers! </vt:lpstr>
      <vt:lpstr>Goals for Today</vt:lpstr>
      <vt:lpstr>Challenges Teaching Reading or Pre-Reading Skills </vt:lpstr>
      <vt:lpstr>Using a Comprehensive Curriculum </vt:lpstr>
      <vt:lpstr>Comprehensive Systems to Teach Foundational Skills </vt:lpstr>
      <vt:lpstr>Instructional Strategies for Students with Autism</vt:lpstr>
      <vt:lpstr>Instructional Strategies for Students  with High Support Needs</vt:lpstr>
      <vt:lpstr>Five Pillars of Reading Instruction</vt:lpstr>
      <vt:lpstr>Levels of Instruction for Learning</vt:lpstr>
      <vt:lpstr>Foundational Academic Lessons in STAR</vt:lpstr>
      <vt:lpstr>Foundational Academic Lessons in Links</vt:lpstr>
      <vt:lpstr>What is Discrete Trial (DT)? </vt:lpstr>
      <vt:lpstr>Sample Lesson Plan </vt:lpstr>
      <vt:lpstr>Elementary ELA Example</vt:lpstr>
      <vt:lpstr>Secondary ELA Example </vt:lpstr>
      <vt:lpstr>Reading Lessons</vt:lpstr>
      <vt:lpstr>What Guides Our Content Development</vt:lpstr>
      <vt:lpstr>Understanding Scarborough’s Reading Rope</vt:lpstr>
      <vt:lpstr>Scarborough’s Reading Rope</vt:lpstr>
      <vt:lpstr>ELA Lesson Alignment for Both Strands</vt:lpstr>
      <vt:lpstr>Monthly Thematic Content</vt:lpstr>
      <vt:lpstr>2025-2026 Themes</vt:lpstr>
      <vt:lpstr>ELA Alignment in STAR Themes First!</vt:lpstr>
      <vt:lpstr>ELA Alignment in Links Academic Teaching Units</vt:lpstr>
      <vt:lpstr>Newsletter to Include Caregivers </vt:lpstr>
      <vt:lpstr>Circle (TF): Introduction Stories</vt:lpstr>
      <vt:lpstr>Morning Meeting (ATU): Conversation Starters</vt:lpstr>
      <vt:lpstr>Vocabulary</vt:lpstr>
      <vt:lpstr>ELA: Sequencing Events</vt:lpstr>
      <vt:lpstr>ELA Leveled Practice Activities </vt:lpstr>
      <vt:lpstr>Lesson Structure </vt:lpstr>
      <vt:lpstr>Embedded Skill Targets</vt:lpstr>
      <vt:lpstr>Lesson Variation</vt:lpstr>
      <vt:lpstr>Printable Lesson Examples</vt:lpstr>
      <vt:lpstr>Digital Lesson Examples </vt:lpstr>
      <vt:lpstr>Let’s Explore! </vt:lpstr>
      <vt:lpstr>Scheduling for Success</vt:lpstr>
      <vt:lpstr>Schedule Samples </vt:lpstr>
      <vt:lpstr>IEP Alignment tools </vt:lpstr>
      <vt:lpstr>Resources</vt:lpstr>
      <vt:lpstr>Free Home Supports</vt:lpstr>
      <vt:lpstr>Home Support Activities and Visuals</vt:lpstr>
      <vt:lpstr>Home Support Webinars </vt:lpstr>
      <vt:lpstr>Thank you for joining us! </vt:lpstr>
      <vt:lpstr>References</vt:lpstr>
      <vt:lpstr>Charting the Cs Conference 2025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R Autism Support: Launching Every Learner to Reading Success! </dc:title>
  <dc:creator>Charting the Cs Conference 2025</dc:creator>
  <cp:lastModifiedBy>Shuyin Maciel</cp:lastModifiedBy>
  <cp:revision>157</cp:revision>
  <cp:lastPrinted>2025-04-12T13:20:14Z</cp:lastPrinted>
  <dcterms:created xsi:type="dcterms:W3CDTF">2025-04-04T15:43:01Z</dcterms:created>
  <dcterms:modified xsi:type="dcterms:W3CDTF">2025-04-25T18:21:19Z</dcterms:modified>
</cp:coreProperties>
</file>